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824" r:id="rId3"/>
    <p:sldId id="2123258989" r:id="rId4"/>
    <p:sldId id="833" r:id="rId5"/>
    <p:sldId id="2123258990" r:id="rId6"/>
    <p:sldId id="2123258991" r:id="rId7"/>
    <p:sldId id="2123258993" r:id="rId8"/>
    <p:sldId id="2123258992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FA0230F-E564-244C-B26B-FC3ACF74B520}">
          <p14:sldIdLst>
            <p14:sldId id="256"/>
          </p14:sldIdLst>
        </p14:section>
        <p14:section name="Agenda" id="{EDDAAE89-4B0B-7447-A347-3630D1048C47}">
          <p14:sldIdLst>
            <p14:sldId id="824"/>
          </p14:sldIdLst>
        </p14:section>
        <p14:section name="Introduction" id="{D0F2635F-D916-F444-AF77-8B4F4A8F5D17}">
          <p14:sldIdLst>
            <p14:sldId id="2123258989"/>
            <p14:sldId id="833"/>
          </p14:sldIdLst>
        </p14:section>
        <p14:section name="Implementation" id="{09C27F3A-4B17-4C5E-9922-A7BA52276AE3}">
          <p14:sldIdLst>
            <p14:sldId id="2123258990"/>
            <p14:sldId id="2123258991"/>
            <p14:sldId id="2123258993"/>
            <p14:sldId id="21232589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59A811-26F5-8BF2-015A-5BD438645F31}" name="John Dingelstad" initials="JD" userId="S::john.dingelstad@securosys.com::8ae7084d-9910-4946-86a6-248d0176207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1D2CF"/>
    <a:srgbClr val="A6A6A6"/>
    <a:srgbClr val="EDEDED"/>
    <a:srgbClr val="265C6D"/>
    <a:srgbClr val="BB1E10"/>
    <a:srgbClr val="E30613"/>
    <a:srgbClr val="37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797F9C-E937-400A-A44F-A8197C926EDE}" v="355" dt="2024-01-19T12:27:40.278"/>
    <p1510:client id="{A6EEED80-7EC9-4ADA-9E0A-C028BC2BD4C9}" v="1" dt="2024-01-19T14:38:49.8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87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mitrios Sakellaropoulos" userId="S::dimitrios.sakellaropoulos@securosys.ch::0b14655c-d554-4584-b2b5-f8be18e8a88d" providerId="AD" clId="Web-{A6EEED80-7EC9-4ADA-9E0A-C028BC2BD4C9}"/>
    <pc:docChg chg="modSld">
      <pc:chgData name="Dimitrios Sakellaropoulos" userId="S::dimitrios.sakellaropoulos@securosys.ch::0b14655c-d554-4584-b2b5-f8be18e8a88d" providerId="AD" clId="Web-{A6EEED80-7EC9-4ADA-9E0A-C028BC2BD4C9}" dt="2024-01-19T14:38:49.835" v="0"/>
      <pc:docMkLst>
        <pc:docMk/>
      </pc:docMkLst>
      <pc:sldChg chg="modSp">
        <pc:chgData name="Dimitrios Sakellaropoulos" userId="S::dimitrios.sakellaropoulos@securosys.ch::0b14655c-d554-4584-b2b5-f8be18e8a88d" providerId="AD" clId="Web-{A6EEED80-7EC9-4ADA-9E0A-C028BC2BD4C9}" dt="2024-01-19T14:38:49.835" v="0"/>
        <pc:sldMkLst>
          <pc:docMk/>
          <pc:sldMk cId="2764876868" sldId="2123258992"/>
        </pc:sldMkLst>
        <pc:graphicFrameChg chg="modGraphic">
          <ac:chgData name="Dimitrios Sakellaropoulos" userId="S::dimitrios.sakellaropoulos@securosys.ch::0b14655c-d554-4584-b2b5-f8be18e8a88d" providerId="AD" clId="Web-{A6EEED80-7EC9-4ADA-9E0A-C028BC2BD4C9}" dt="2024-01-19T14:38:49.835" v="0"/>
          <ac:graphicFrameMkLst>
            <pc:docMk/>
            <pc:sldMk cId="2764876868" sldId="2123258992"/>
            <ac:graphicFrameMk id="8" creationId="{A7530C45-71E2-1E38-CA90-269285368DFA}"/>
          </ac:graphicFrameMkLst>
        </pc:graphicFrameChg>
      </pc:sldChg>
    </pc:docChg>
  </pc:docChgLst>
  <pc:docChgLst>
    <pc:chgData name="Sebastian Fernandez" userId="S::sebastian.fernandez@securosys.ch::b3a9457d-058c-4302-b72c-c2a7d5cb0c22" providerId="AD" clId="Web-{3699977D-9B90-4E60-B2C8-5F82EC0ACB34}"/>
    <pc:docChg chg="modSld">
      <pc:chgData name="Sebastian Fernandez" userId="S::sebastian.fernandez@securosys.ch::b3a9457d-058c-4302-b72c-c2a7d5cb0c22" providerId="AD" clId="Web-{3699977D-9B90-4E60-B2C8-5F82EC0ACB34}" dt="2024-01-15T16:29:10.976" v="41" actId="1076"/>
      <pc:docMkLst>
        <pc:docMk/>
      </pc:docMkLst>
      <pc:sldChg chg="modSp">
        <pc:chgData name="Sebastian Fernandez" userId="S::sebastian.fernandez@securosys.ch::b3a9457d-058c-4302-b72c-c2a7d5cb0c22" providerId="AD" clId="Web-{3699977D-9B90-4E60-B2C8-5F82EC0ACB34}" dt="2024-01-15T16:29:10.976" v="41" actId="1076"/>
        <pc:sldMkLst>
          <pc:docMk/>
          <pc:sldMk cId="3330550435" sldId="824"/>
        </pc:sldMkLst>
        <pc:spChg chg="mod">
          <ac:chgData name="Sebastian Fernandez" userId="S::sebastian.fernandez@securosys.ch::b3a9457d-058c-4302-b72c-c2a7d5cb0c22" providerId="AD" clId="Web-{3699977D-9B90-4E60-B2C8-5F82EC0ACB34}" dt="2024-01-15T16:29:10.976" v="41" actId="1076"/>
          <ac:spMkLst>
            <pc:docMk/>
            <pc:sldMk cId="3330550435" sldId="824"/>
            <ac:spMk id="7" creationId="{A49C5A1A-3700-4DD1-A50A-45BFBEB45038}"/>
          </ac:spMkLst>
        </pc:spChg>
      </pc:sldChg>
      <pc:sldChg chg="modSp">
        <pc:chgData name="Sebastian Fernandez" userId="S::sebastian.fernandez@securosys.ch::b3a9457d-058c-4302-b72c-c2a7d5cb0c22" providerId="AD" clId="Web-{3699977D-9B90-4E60-B2C8-5F82EC0ACB34}" dt="2024-01-15T16:29:00.882" v="40"/>
        <pc:sldMkLst>
          <pc:docMk/>
          <pc:sldMk cId="2764876868" sldId="2123258992"/>
        </pc:sldMkLst>
        <pc:graphicFrameChg chg="mod modGraphic">
          <ac:chgData name="Sebastian Fernandez" userId="S::sebastian.fernandez@securosys.ch::b3a9457d-058c-4302-b72c-c2a7d5cb0c22" providerId="AD" clId="Web-{3699977D-9B90-4E60-B2C8-5F82EC0ACB34}" dt="2024-01-15T16:29:00.882" v="40"/>
          <ac:graphicFrameMkLst>
            <pc:docMk/>
            <pc:sldMk cId="2764876868" sldId="2123258992"/>
            <ac:graphicFrameMk id="8" creationId="{A7530C45-71E2-1E38-CA90-269285368DFA}"/>
          </ac:graphicFrameMkLst>
        </pc:graphicFrameChg>
      </pc:sldChg>
    </pc:docChg>
  </pc:docChgLst>
  <pc:docChgLst>
    <pc:chgData name="Sebastian Fernandez" userId="b3a9457d-058c-4302-b72c-c2a7d5cb0c22" providerId="ADAL" clId="{75797F9C-E937-400A-A44F-A8197C926EDE}"/>
    <pc:docChg chg="undo custSel addSld delSld modSld modSection">
      <pc:chgData name="Sebastian Fernandez" userId="b3a9457d-058c-4302-b72c-c2a7d5cb0c22" providerId="ADAL" clId="{75797F9C-E937-400A-A44F-A8197C926EDE}" dt="2024-01-19T12:27:40.278" v="472" actId="20577"/>
      <pc:docMkLst>
        <pc:docMk/>
      </pc:docMkLst>
      <pc:sldChg chg="modSp mod">
        <pc:chgData name="Sebastian Fernandez" userId="b3a9457d-058c-4302-b72c-c2a7d5cb0c22" providerId="ADAL" clId="{75797F9C-E937-400A-A44F-A8197C926EDE}" dt="2024-01-19T12:24:06.377" v="451" actId="403"/>
        <pc:sldMkLst>
          <pc:docMk/>
          <pc:sldMk cId="1981695339" sldId="256"/>
        </pc:sldMkLst>
        <pc:spChg chg="mod">
          <ac:chgData name="Sebastian Fernandez" userId="b3a9457d-058c-4302-b72c-c2a7d5cb0c22" providerId="ADAL" clId="{75797F9C-E937-400A-A44F-A8197C926EDE}" dt="2024-01-19T12:24:06.377" v="451" actId="403"/>
          <ac:spMkLst>
            <pc:docMk/>
            <pc:sldMk cId="1981695339" sldId="256"/>
            <ac:spMk id="18" creationId="{8CBFA456-481E-6099-A030-FA98B0C848E6}"/>
          </ac:spMkLst>
        </pc:spChg>
      </pc:sldChg>
      <pc:sldChg chg="modSp mod">
        <pc:chgData name="Sebastian Fernandez" userId="b3a9457d-058c-4302-b72c-c2a7d5cb0c22" providerId="ADAL" clId="{75797F9C-E937-400A-A44F-A8197C926EDE}" dt="2024-01-19T12:26:33.780" v="464" actId="20577"/>
        <pc:sldMkLst>
          <pc:docMk/>
          <pc:sldMk cId="2424649259" sldId="833"/>
        </pc:sldMkLst>
        <pc:spChg chg="mod">
          <ac:chgData name="Sebastian Fernandez" userId="b3a9457d-058c-4302-b72c-c2a7d5cb0c22" providerId="ADAL" clId="{75797F9C-E937-400A-A44F-A8197C926EDE}" dt="2024-01-19T12:26:33.780" v="464" actId="20577"/>
          <ac:spMkLst>
            <pc:docMk/>
            <pc:sldMk cId="2424649259" sldId="833"/>
            <ac:spMk id="6" creationId="{A787A875-EE28-BFC4-6993-BB1EBEBA49AA}"/>
          </ac:spMkLst>
        </pc:spChg>
      </pc:sldChg>
      <pc:sldChg chg="modSp mod">
        <pc:chgData name="Sebastian Fernandez" userId="b3a9457d-058c-4302-b72c-c2a7d5cb0c22" providerId="ADAL" clId="{75797F9C-E937-400A-A44F-A8197C926EDE}" dt="2024-01-19T12:26:27.435" v="462" actId="20577"/>
        <pc:sldMkLst>
          <pc:docMk/>
          <pc:sldMk cId="4222441213" sldId="2123258989"/>
        </pc:sldMkLst>
        <pc:spChg chg="mod">
          <ac:chgData name="Sebastian Fernandez" userId="b3a9457d-058c-4302-b72c-c2a7d5cb0c22" providerId="ADAL" clId="{75797F9C-E937-400A-A44F-A8197C926EDE}" dt="2024-01-19T12:26:27.435" v="462" actId="20577"/>
          <ac:spMkLst>
            <pc:docMk/>
            <pc:sldMk cId="4222441213" sldId="2123258989"/>
            <ac:spMk id="6" creationId="{D637F335-811C-BB93-7185-DD5E5AE0A65A}"/>
          </ac:spMkLst>
        </pc:spChg>
      </pc:sldChg>
      <pc:sldChg chg="addSp delSp modSp mod">
        <pc:chgData name="Sebastian Fernandez" userId="b3a9457d-058c-4302-b72c-c2a7d5cb0c22" providerId="ADAL" clId="{75797F9C-E937-400A-A44F-A8197C926EDE}" dt="2024-01-19T12:27:40.278" v="472" actId="20577"/>
        <pc:sldMkLst>
          <pc:docMk/>
          <pc:sldMk cId="2222693052" sldId="2123258991"/>
        </pc:sldMkLst>
        <pc:spChg chg="mod">
          <ac:chgData name="Sebastian Fernandez" userId="b3a9457d-058c-4302-b72c-c2a7d5cb0c22" providerId="ADAL" clId="{75797F9C-E937-400A-A44F-A8197C926EDE}" dt="2024-01-19T12:27:40.278" v="472" actId="20577"/>
          <ac:spMkLst>
            <pc:docMk/>
            <pc:sldMk cId="2222693052" sldId="2123258991"/>
            <ac:spMk id="6" creationId="{A6DD151D-3BD8-E8A7-B61F-5C05EBC47D00}"/>
          </ac:spMkLst>
        </pc:spChg>
        <pc:spChg chg="add del mod">
          <ac:chgData name="Sebastian Fernandez" userId="b3a9457d-058c-4302-b72c-c2a7d5cb0c22" providerId="ADAL" clId="{75797F9C-E937-400A-A44F-A8197C926EDE}" dt="2024-01-19T09:47:46.072" v="370" actId="21"/>
          <ac:spMkLst>
            <pc:docMk/>
            <pc:sldMk cId="2222693052" sldId="2123258991"/>
            <ac:spMk id="8" creationId="{5B049810-E3F6-0A2E-7ADC-6DA382AF07EE}"/>
          </ac:spMkLst>
        </pc:spChg>
        <pc:picChg chg="del mod">
          <ac:chgData name="Sebastian Fernandez" userId="b3a9457d-058c-4302-b72c-c2a7d5cb0c22" providerId="ADAL" clId="{75797F9C-E937-400A-A44F-A8197C926EDE}" dt="2024-01-19T09:03:55.374" v="165" actId="478"/>
          <ac:picMkLst>
            <pc:docMk/>
            <pc:sldMk cId="2222693052" sldId="2123258991"/>
            <ac:picMk id="11" creationId="{894CEB0C-A4BE-ECD7-C6BA-B616DC62DCFC}"/>
          </ac:picMkLst>
        </pc:picChg>
        <pc:picChg chg="del mod">
          <ac:chgData name="Sebastian Fernandez" userId="b3a9457d-058c-4302-b72c-c2a7d5cb0c22" providerId="ADAL" clId="{75797F9C-E937-400A-A44F-A8197C926EDE}" dt="2024-01-19T09:03:55.940" v="166" actId="478"/>
          <ac:picMkLst>
            <pc:docMk/>
            <pc:sldMk cId="2222693052" sldId="2123258991"/>
            <ac:picMk id="13" creationId="{B7283749-2B2A-0138-48B0-05E4D5D7E73B}"/>
          </ac:picMkLst>
        </pc:picChg>
        <pc:picChg chg="add del mod">
          <ac:chgData name="Sebastian Fernandez" userId="b3a9457d-058c-4302-b72c-c2a7d5cb0c22" providerId="ADAL" clId="{75797F9C-E937-400A-A44F-A8197C926EDE}" dt="2024-01-19T09:47:46.072" v="370" actId="21"/>
          <ac:picMkLst>
            <pc:docMk/>
            <pc:sldMk cId="2222693052" sldId="2123258991"/>
            <ac:picMk id="1026" creationId="{54D947B2-48E1-623A-1003-25917C716113}"/>
          </ac:picMkLst>
        </pc:picChg>
      </pc:sldChg>
      <pc:sldChg chg="new del">
        <pc:chgData name="Sebastian Fernandez" userId="b3a9457d-058c-4302-b72c-c2a7d5cb0c22" providerId="ADAL" clId="{75797F9C-E937-400A-A44F-A8197C926EDE}" dt="2024-01-19T09:31:55.091" v="366" actId="47"/>
        <pc:sldMkLst>
          <pc:docMk/>
          <pc:sldMk cId="487749410" sldId="2123258993"/>
        </pc:sldMkLst>
      </pc:sldChg>
      <pc:sldChg chg="addSp modSp new mod">
        <pc:chgData name="Sebastian Fernandez" userId="b3a9457d-058c-4302-b72c-c2a7d5cb0c22" providerId="ADAL" clId="{75797F9C-E937-400A-A44F-A8197C926EDE}" dt="2024-01-19T12:26:51.704" v="466" actId="1076"/>
        <pc:sldMkLst>
          <pc:docMk/>
          <pc:sldMk cId="1381140196" sldId="2123258993"/>
        </pc:sldMkLst>
        <pc:spChg chg="mod">
          <ac:chgData name="Sebastian Fernandez" userId="b3a9457d-058c-4302-b72c-c2a7d5cb0c22" providerId="ADAL" clId="{75797F9C-E937-400A-A44F-A8197C926EDE}" dt="2024-01-19T09:47:54.190" v="375" actId="20577"/>
          <ac:spMkLst>
            <pc:docMk/>
            <pc:sldMk cId="1381140196" sldId="2123258993"/>
            <ac:spMk id="2" creationId="{95BC528F-7248-E3E6-687C-120EA0BF448D}"/>
          </ac:spMkLst>
        </pc:spChg>
        <pc:spChg chg="mod">
          <ac:chgData name="Sebastian Fernandez" userId="b3a9457d-058c-4302-b72c-c2a7d5cb0c22" providerId="ADAL" clId="{75797F9C-E937-400A-A44F-A8197C926EDE}" dt="2024-01-19T09:48:31.564" v="407" actId="113"/>
          <ac:spMkLst>
            <pc:docMk/>
            <pc:sldMk cId="1381140196" sldId="2123258993"/>
            <ac:spMk id="6" creationId="{6FCACD09-6DF5-764E-A02C-B181649D5EB2}"/>
          </ac:spMkLst>
        </pc:spChg>
        <pc:spChg chg="mod">
          <ac:chgData name="Sebastian Fernandez" userId="b3a9457d-058c-4302-b72c-c2a7d5cb0c22" providerId="ADAL" clId="{75797F9C-E937-400A-A44F-A8197C926EDE}" dt="2024-01-19T09:48:00.002" v="385" actId="20577"/>
          <ac:spMkLst>
            <pc:docMk/>
            <pc:sldMk cId="1381140196" sldId="2123258993"/>
            <ac:spMk id="7" creationId="{9F864014-65B0-925A-AA03-41F68CDDF1B7}"/>
          </ac:spMkLst>
        </pc:spChg>
        <pc:spChg chg="add mod">
          <ac:chgData name="Sebastian Fernandez" userId="b3a9457d-058c-4302-b72c-c2a7d5cb0c22" providerId="ADAL" clId="{75797F9C-E937-400A-A44F-A8197C926EDE}" dt="2024-01-19T12:26:51.704" v="466" actId="1076"/>
          <ac:spMkLst>
            <pc:docMk/>
            <pc:sldMk cId="1381140196" sldId="2123258993"/>
            <ac:spMk id="8" creationId="{5B049810-E3F6-0A2E-7ADC-6DA382AF07EE}"/>
          </ac:spMkLst>
        </pc:spChg>
        <pc:picChg chg="add mod">
          <ac:chgData name="Sebastian Fernandez" userId="b3a9457d-058c-4302-b72c-c2a7d5cb0c22" providerId="ADAL" clId="{75797F9C-E937-400A-A44F-A8197C926EDE}" dt="2024-01-19T12:26:48.462" v="465" actId="14100"/>
          <ac:picMkLst>
            <pc:docMk/>
            <pc:sldMk cId="1381140196" sldId="2123258993"/>
            <ac:picMk id="1026" creationId="{54D947B2-48E1-623A-1003-25917C71611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59BE51-884D-4365-8CFB-C3E7D507A9B1}" type="datetimeFigureOut">
              <a:rPr lang="de-CH" smtClean="0"/>
              <a:t>25.01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3220A5-7B04-41A7-8E3C-21C7CB74677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8546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A3BEF8-DC71-4B0D-AA73-D2A4BEDB499A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89046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3220A5-7B04-41A7-8E3C-21C7CB746779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2359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FE3CF63-5DD6-9554-35A0-79DF19DE1B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b"/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1A807E-3305-2DA3-0F13-D448E1C654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5" y="-16016"/>
            <a:ext cx="8212480" cy="5531587"/>
          </a:xfrm>
          <a:custGeom>
            <a:avLst/>
            <a:gdLst>
              <a:gd name="connsiteX0" fmla="*/ 1754232 w 8212480"/>
              <a:gd name="connsiteY0" fmla="*/ 0 h 5531587"/>
              <a:gd name="connsiteX1" fmla="*/ 8212480 w 8212480"/>
              <a:gd name="connsiteY1" fmla="*/ 0 h 5531587"/>
              <a:gd name="connsiteX2" fmla="*/ 6458248 w 8212480"/>
              <a:gd name="connsiteY2" fmla="*/ 5531587 h 5531587"/>
              <a:gd name="connsiteX3" fmla="*/ 0 w 8212480"/>
              <a:gd name="connsiteY3" fmla="*/ 5531587 h 553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2480" h="5531587">
                <a:moveTo>
                  <a:pt x="1754232" y="0"/>
                </a:moveTo>
                <a:lnTo>
                  <a:pt x="8212480" y="0"/>
                </a:lnTo>
                <a:lnTo>
                  <a:pt x="6458248" y="5531587"/>
                </a:lnTo>
                <a:lnTo>
                  <a:pt x="0" y="5531587"/>
                </a:lnTo>
                <a:close/>
              </a:path>
            </a:pathLst>
          </a:custGeom>
          <a:solidFill>
            <a:schemeClr val="bg1"/>
          </a:solidFill>
          <a:effectLst>
            <a:outerShdw blurRad="190500" sx="102000" sy="102000" algn="ctr" rotWithShape="0">
              <a:srgbClr val="000000">
                <a:alpha val="22000"/>
              </a:srgbClr>
            </a:outerShdw>
          </a:effectLst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21177E6B-6C93-40B3-7A7D-72D21E34C0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80834" y="784225"/>
            <a:ext cx="5358266" cy="881063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7000" b="1"/>
            </a:lvl1pPr>
          </a:lstStyle>
          <a:p>
            <a:pPr lvl="0"/>
            <a:r>
              <a:rPr lang="en-US" err="1"/>
              <a:t>Titlefolie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0F0513-31A4-6162-56A5-8999BABE4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0834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9F410E-BA13-BD87-479C-F7A10B574A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80834" y="563715"/>
            <a:ext cx="74524" cy="73959"/>
          </a:xfrm>
          <a:custGeom>
            <a:avLst/>
            <a:gdLst>
              <a:gd name="connsiteX0" fmla="*/ 0 w 74524"/>
              <a:gd name="connsiteY0" fmla="*/ 0 h 73959"/>
              <a:gd name="connsiteX1" fmla="*/ 74524 w 74524"/>
              <a:gd name="connsiteY1" fmla="*/ 0 h 73959"/>
              <a:gd name="connsiteX2" fmla="*/ 152 w 74524"/>
              <a:gd name="connsiteY2" fmla="*/ 73959 h 73959"/>
              <a:gd name="connsiteX3" fmla="*/ 0 w 74524"/>
              <a:gd name="connsiteY3" fmla="*/ 73959 h 7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24" h="73959">
                <a:moveTo>
                  <a:pt x="0" y="0"/>
                </a:moveTo>
                <a:lnTo>
                  <a:pt x="74524" y="0"/>
                </a:lnTo>
                <a:lnTo>
                  <a:pt x="152" y="73959"/>
                </a:lnTo>
                <a:lnTo>
                  <a:pt x="0" y="7395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63CB3A-E4DE-405D-7CAF-B3C511C2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0282" y="2065150"/>
            <a:ext cx="3415718" cy="39558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28DFBDA-9CCE-FBB9-98FB-710A641404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1372" y="4851286"/>
            <a:ext cx="2513168" cy="41336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C66D60-634D-1203-82E1-286FE5F2AFF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FC40F3C4-A1B5-FA42-8C05-0B8AD165727C}" type="datetime3">
              <a:rPr lang="en-US" smtClean="0"/>
              <a:t>25 January 2024</a:t>
            </a:fld>
            <a:endParaRPr lang="de-CH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77894B-8093-6FEF-110C-3FADE4521A4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A49536-D24B-1B45-AD87-FBD680194AD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0021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5E8E7A3F-C07E-B6AC-8539-8B7421F9F9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5326 w 12192000"/>
              <a:gd name="connsiteY0" fmla="*/ 563715 h 6858000"/>
              <a:gd name="connsiteX1" fmla="*/ 695326 w 12192000"/>
              <a:gd name="connsiteY1" fmla="*/ 637674 h 6858000"/>
              <a:gd name="connsiteX2" fmla="*/ 695478 w 12192000"/>
              <a:gd name="connsiteY2" fmla="*/ 637674 h 6858000"/>
              <a:gd name="connsiteX3" fmla="*/ 769850 w 12192000"/>
              <a:gd name="connsiteY3" fmla="*/ 563715 h 6858000"/>
              <a:gd name="connsiteX4" fmla="*/ 11408682 w 12192000"/>
              <a:gd name="connsiteY4" fmla="*/ 456185 h 6858000"/>
              <a:gd name="connsiteX5" fmla="*/ 11404634 w 12192000"/>
              <a:gd name="connsiteY5" fmla="*/ 467429 h 6858000"/>
              <a:gd name="connsiteX6" fmla="*/ 11402329 w 12192000"/>
              <a:gd name="connsiteY6" fmla="*/ 478673 h 6858000"/>
              <a:gd name="connsiteX7" fmla="*/ 11420825 w 12192000"/>
              <a:gd name="connsiteY7" fmla="*/ 483508 h 6858000"/>
              <a:gd name="connsiteX8" fmla="*/ 11444044 w 12192000"/>
              <a:gd name="connsiteY8" fmla="*/ 485307 h 6858000"/>
              <a:gd name="connsiteX9" fmla="*/ 11450847 w 12192000"/>
              <a:gd name="connsiteY9" fmla="*/ 484858 h 6858000"/>
              <a:gd name="connsiteX10" fmla="*/ 11458662 w 12192000"/>
              <a:gd name="connsiteY10" fmla="*/ 460402 h 6858000"/>
              <a:gd name="connsiteX11" fmla="*/ 11455120 w 12192000"/>
              <a:gd name="connsiteY11" fmla="*/ 461414 h 6858000"/>
              <a:gd name="connsiteX12" fmla="*/ 11442976 w 12192000"/>
              <a:gd name="connsiteY12" fmla="*/ 462819 h 6858000"/>
              <a:gd name="connsiteX13" fmla="*/ 11425098 w 12192000"/>
              <a:gd name="connsiteY13" fmla="*/ 461020 h 6858000"/>
              <a:gd name="connsiteX14" fmla="*/ 11408682 w 12192000"/>
              <a:gd name="connsiteY14" fmla="*/ 456185 h 6858000"/>
              <a:gd name="connsiteX15" fmla="*/ 10223271 w 12192000"/>
              <a:gd name="connsiteY15" fmla="*/ 381243 h 6858000"/>
              <a:gd name="connsiteX16" fmla="*/ 10214501 w 12192000"/>
              <a:gd name="connsiteY16" fmla="*/ 408679 h 6858000"/>
              <a:gd name="connsiteX17" fmla="*/ 10227994 w 12192000"/>
              <a:gd name="connsiteY17" fmla="*/ 414863 h 6858000"/>
              <a:gd name="connsiteX18" fmla="*/ 10237720 w 12192000"/>
              <a:gd name="connsiteY18" fmla="*/ 418461 h 6858000"/>
              <a:gd name="connsiteX19" fmla="*/ 10247559 w 12192000"/>
              <a:gd name="connsiteY19" fmla="*/ 421891 h 6858000"/>
              <a:gd name="connsiteX20" fmla="*/ 10255542 w 12192000"/>
              <a:gd name="connsiteY20" fmla="*/ 426164 h 6858000"/>
              <a:gd name="connsiteX21" fmla="*/ 10261164 w 12192000"/>
              <a:gd name="connsiteY21" fmla="*/ 432292 h 6858000"/>
              <a:gd name="connsiteX22" fmla="*/ 10263244 w 12192000"/>
              <a:gd name="connsiteY22" fmla="*/ 441399 h 6858000"/>
              <a:gd name="connsiteX23" fmla="*/ 10260658 w 12192000"/>
              <a:gd name="connsiteY23" fmla="*/ 450395 h 6858000"/>
              <a:gd name="connsiteX24" fmla="*/ 10253687 w 12192000"/>
              <a:gd name="connsiteY24" fmla="*/ 457141 h 6858000"/>
              <a:gd name="connsiteX25" fmla="*/ 10243623 w 12192000"/>
              <a:gd name="connsiteY25" fmla="*/ 461301 h 6858000"/>
              <a:gd name="connsiteX26" fmla="*/ 10231480 w 12192000"/>
              <a:gd name="connsiteY26" fmla="*/ 462707 h 6858000"/>
              <a:gd name="connsiteX27" fmla="*/ 10199097 w 12192000"/>
              <a:gd name="connsiteY27" fmla="*/ 457141 h 6858000"/>
              <a:gd name="connsiteX28" fmla="*/ 10192013 w 12192000"/>
              <a:gd name="connsiteY28" fmla="*/ 479180 h 6858000"/>
              <a:gd name="connsiteX29" fmla="*/ 10209216 w 12192000"/>
              <a:gd name="connsiteY29" fmla="*/ 483677 h 6858000"/>
              <a:gd name="connsiteX30" fmla="*/ 10232435 w 12192000"/>
              <a:gd name="connsiteY30" fmla="*/ 485476 h 6858000"/>
              <a:gd name="connsiteX31" fmla="*/ 10256217 w 12192000"/>
              <a:gd name="connsiteY31" fmla="*/ 482159 h 6858000"/>
              <a:gd name="connsiteX32" fmla="*/ 10274601 w 12192000"/>
              <a:gd name="connsiteY32" fmla="*/ 472883 h 6858000"/>
              <a:gd name="connsiteX33" fmla="*/ 10286351 w 12192000"/>
              <a:gd name="connsiteY33" fmla="*/ 458491 h 6858000"/>
              <a:gd name="connsiteX34" fmla="*/ 10290511 w 12192000"/>
              <a:gd name="connsiteY34" fmla="*/ 439825 h 6858000"/>
              <a:gd name="connsiteX35" fmla="*/ 10287925 w 12192000"/>
              <a:gd name="connsiteY35" fmla="*/ 423971 h 6858000"/>
              <a:gd name="connsiteX36" fmla="*/ 10280954 w 12192000"/>
              <a:gd name="connsiteY36" fmla="*/ 412727 h 6858000"/>
              <a:gd name="connsiteX37" fmla="*/ 10270778 w 12192000"/>
              <a:gd name="connsiteY37" fmla="*/ 405081 h 6858000"/>
              <a:gd name="connsiteX38" fmla="*/ 10258185 w 12192000"/>
              <a:gd name="connsiteY38" fmla="*/ 399853 h 6858000"/>
              <a:gd name="connsiteX39" fmla="*/ 10245984 w 12192000"/>
              <a:gd name="connsiteY39" fmla="*/ 395692 h 6858000"/>
              <a:gd name="connsiteX40" fmla="*/ 10236708 w 12192000"/>
              <a:gd name="connsiteY40" fmla="*/ 392375 h 6858000"/>
              <a:gd name="connsiteX41" fmla="*/ 10229118 w 12192000"/>
              <a:gd name="connsiteY41" fmla="*/ 388383 h 6858000"/>
              <a:gd name="connsiteX42" fmla="*/ 10223890 w 12192000"/>
              <a:gd name="connsiteY42" fmla="*/ 382761 h 6858000"/>
              <a:gd name="connsiteX43" fmla="*/ 10223271 w 12192000"/>
              <a:gd name="connsiteY43" fmla="*/ 381243 h 6858000"/>
              <a:gd name="connsiteX44" fmla="*/ 10995461 w 12192000"/>
              <a:gd name="connsiteY44" fmla="*/ 359149 h 6858000"/>
              <a:gd name="connsiteX45" fmla="*/ 11023571 w 12192000"/>
              <a:gd name="connsiteY45" fmla="*/ 372810 h 6858000"/>
              <a:gd name="connsiteX46" fmla="*/ 11023571 w 12192000"/>
              <a:gd name="connsiteY46" fmla="*/ 449608 h 6858000"/>
              <a:gd name="connsiteX47" fmla="*/ 10995461 w 12192000"/>
              <a:gd name="connsiteY47" fmla="*/ 463382 h 6858000"/>
              <a:gd name="connsiteX48" fmla="*/ 10995461 w 12192000"/>
              <a:gd name="connsiteY48" fmla="*/ 463325 h 6858000"/>
              <a:gd name="connsiteX49" fmla="*/ 10967350 w 12192000"/>
              <a:gd name="connsiteY49" fmla="*/ 449608 h 6858000"/>
              <a:gd name="connsiteX50" fmla="*/ 10967350 w 12192000"/>
              <a:gd name="connsiteY50" fmla="*/ 372810 h 6858000"/>
              <a:gd name="connsiteX51" fmla="*/ 10995461 w 12192000"/>
              <a:gd name="connsiteY51" fmla="*/ 359149 h 6858000"/>
              <a:gd name="connsiteX52" fmla="*/ 10396936 w 12192000"/>
              <a:gd name="connsiteY52" fmla="*/ 358587 h 6858000"/>
              <a:gd name="connsiteX53" fmla="*/ 10411722 w 12192000"/>
              <a:gd name="connsiteY53" fmla="*/ 361792 h 6858000"/>
              <a:gd name="connsiteX54" fmla="*/ 10421954 w 12192000"/>
              <a:gd name="connsiteY54" fmla="*/ 370225 h 6858000"/>
              <a:gd name="connsiteX55" fmla="*/ 10428082 w 12192000"/>
              <a:gd name="connsiteY55" fmla="*/ 382537 h 6858000"/>
              <a:gd name="connsiteX56" fmla="*/ 10430106 w 12192000"/>
              <a:gd name="connsiteY56" fmla="*/ 397323 h 6858000"/>
              <a:gd name="connsiteX57" fmla="*/ 10360168 w 12192000"/>
              <a:gd name="connsiteY57" fmla="*/ 397323 h 6858000"/>
              <a:gd name="connsiteX58" fmla="*/ 10371075 w 12192000"/>
              <a:gd name="connsiteY58" fmla="*/ 368819 h 6858000"/>
              <a:gd name="connsiteX59" fmla="*/ 10396936 w 12192000"/>
              <a:gd name="connsiteY59" fmla="*/ 358587 h 6858000"/>
              <a:gd name="connsiteX60" fmla="*/ 11356340 w 12192000"/>
              <a:gd name="connsiteY60" fmla="*/ 339023 h 6858000"/>
              <a:gd name="connsiteX61" fmla="*/ 11342791 w 12192000"/>
              <a:gd name="connsiteY61" fmla="*/ 339810 h 6858000"/>
              <a:gd name="connsiteX62" fmla="*/ 11302143 w 12192000"/>
              <a:gd name="connsiteY62" fmla="*/ 471759 h 6858000"/>
              <a:gd name="connsiteX63" fmla="*/ 11262789 w 12192000"/>
              <a:gd name="connsiteY63" fmla="*/ 339810 h 6858000"/>
              <a:gd name="connsiteX64" fmla="*/ 11255312 w 12192000"/>
              <a:gd name="connsiteY64" fmla="*/ 339135 h 6858000"/>
              <a:gd name="connsiteX65" fmla="*/ 11247328 w 12192000"/>
              <a:gd name="connsiteY65" fmla="*/ 339135 h 6858000"/>
              <a:gd name="connsiteX66" fmla="*/ 11240132 w 12192000"/>
              <a:gd name="connsiteY66" fmla="*/ 339135 h 6858000"/>
              <a:gd name="connsiteX67" fmla="*/ 11232655 w 12192000"/>
              <a:gd name="connsiteY67" fmla="*/ 339810 h 6858000"/>
              <a:gd name="connsiteX68" fmla="*/ 11279655 w 12192000"/>
              <a:gd name="connsiteY68" fmla="*/ 481710 h 6858000"/>
              <a:gd name="connsiteX69" fmla="*/ 11284659 w 12192000"/>
              <a:gd name="connsiteY69" fmla="*/ 482160 h 6858000"/>
              <a:gd name="connsiteX70" fmla="*/ 11290281 w 12192000"/>
              <a:gd name="connsiteY70" fmla="*/ 482160 h 6858000"/>
              <a:gd name="connsiteX71" fmla="*/ 11294835 w 12192000"/>
              <a:gd name="connsiteY71" fmla="*/ 482160 h 6858000"/>
              <a:gd name="connsiteX72" fmla="*/ 11299389 w 12192000"/>
              <a:gd name="connsiteY72" fmla="*/ 482160 h 6858000"/>
              <a:gd name="connsiteX73" fmla="*/ 11290731 w 12192000"/>
              <a:gd name="connsiteY73" fmla="*/ 508977 h 6858000"/>
              <a:gd name="connsiteX74" fmla="*/ 11286177 w 12192000"/>
              <a:gd name="connsiteY74" fmla="*/ 519490 h 6858000"/>
              <a:gd name="connsiteX75" fmla="*/ 11281061 w 12192000"/>
              <a:gd name="connsiteY75" fmla="*/ 525450 h 6858000"/>
              <a:gd name="connsiteX76" fmla="*/ 11275102 w 12192000"/>
              <a:gd name="connsiteY76" fmla="*/ 528205 h 6858000"/>
              <a:gd name="connsiteX77" fmla="*/ 11268299 w 12192000"/>
              <a:gd name="connsiteY77" fmla="*/ 528879 h 6858000"/>
              <a:gd name="connsiteX78" fmla="*/ 11259079 w 12192000"/>
              <a:gd name="connsiteY78" fmla="*/ 527923 h 6858000"/>
              <a:gd name="connsiteX79" fmla="*/ 11252276 w 12192000"/>
              <a:gd name="connsiteY79" fmla="*/ 526124 h 6858000"/>
              <a:gd name="connsiteX80" fmla="*/ 11247891 w 12192000"/>
              <a:gd name="connsiteY80" fmla="*/ 547432 h 6858000"/>
              <a:gd name="connsiteX81" fmla="*/ 11258798 w 12192000"/>
              <a:gd name="connsiteY81" fmla="*/ 549793 h 6858000"/>
              <a:gd name="connsiteX82" fmla="*/ 11271335 w 12192000"/>
              <a:gd name="connsiteY82" fmla="*/ 550749 h 6858000"/>
              <a:gd name="connsiteX83" fmla="*/ 11286458 w 12192000"/>
              <a:gd name="connsiteY83" fmla="*/ 548838 h 6858000"/>
              <a:gd name="connsiteX84" fmla="*/ 11298208 w 12192000"/>
              <a:gd name="connsiteY84" fmla="*/ 542204 h 6858000"/>
              <a:gd name="connsiteX85" fmla="*/ 11307597 w 12192000"/>
              <a:gd name="connsiteY85" fmla="*/ 529723 h 6858000"/>
              <a:gd name="connsiteX86" fmla="*/ 11315636 w 12192000"/>
              <a:gd name="connsiteY86" fmla="*/ 510664 h 6858000"/>
              <a:gd name="connsiteX87" fmla="*/ 11371014 w 12192000"/>
              <a:gd name="connsiteY87" fmla="*/ 339697 h 6858000"/>
              <a:gd name="connsiteX88" fmla="*/ 11363255 w 12192000"/>
              <a:gd name="connsiteY88" fmla="*/ 339023 h 6858000"/>
              <a:gd name="connsiteX89" fmla="*/ 10836637 w 12192000"/>
              <a:gd name="connsiteY89" fmla="*/ 338909 h 6858000"/>
              <a:gd name="connsiteX90" fmla="*/ 10831015 w 12192000"/>
              <a:gd name="connsiteY90" fmla="*/ 339191 h 6858000"/>
              <a:gd name="connsiteX91" fmla="*/ 10825393 w 12192000"/>
              <a:gd name="connsiteY91" fmla="*/ 339978 h 6858000"/>
              <a:gd name="connsiteX92" fmla="*/ 10825112 w 12192000"/>
              <a:gd name="connsiteY92" fmla="*/ 481878 h 6858000"/>
              <a:gd name="connsiteX93" fmla="*/ 10832139 w 12192000"/>
              <a:gd name="connsiteY93" fmla="*/ 482721 h 6858000"/>
              <a:gd name="connsiteX94" fmla="*/ 10838942 w 12192000"/>
              <a:gd name="connsiteY94" fmla="*/ 483003 h 6858000"/>
              <a:gd name="connsiteX95" fmla="*/ 10845745 w 12192000"/>
              <a:gd name="connsiteY95" fmla="*/ 482721 h 6858000"/>
              <a:gd name="connsiteX96" fmla="*/ 10852491 w 12192000"/>
              <a:gd name="connsiteY96" fmla="*/ 481878 h 6858000"/>
              <a:gd name="connsiteX97" fmla="*/ 10852491 w 12192000"/>
              <a:gd name="connsiteY97" fmla="*/ 411153 h 6858000"/>
              <a:gd name="connsiteX98" fmla="*/ 10855696 w 12192000"/>
              <a:gd name="connsiteY98" fmla="*/ 387596 h 6858000"/>
              <a:gd name="connsiteX99" fmla="*/ 10864241 w 12192000"/>
              <a:gd name="connsiteY99" fmla="*/ 373260 h 6858000"/>
              <a:gd name="connsiteX100" fmla="*/ 10876385 w 12192000"/>
              <a:gd name="connsiteY100" fmla="*/ 365895 h 6858000"/>
              <a:gd name="connsiteX101" fmla="*/ 10890665 w 12192000"/>
              <a:gd name="connsiteY101" fmla="*/ 363815 h 6858000"/>
              <a:gd name="connsiteX102" fmla="*/ 10894376 w 12192000"/>
              <a:gd name="connsiteY102" fmla="*/ 363815 h 6858000"/>
              <a:gd name="connsiteX103" fmla="*/ 10898929 w 12192000"/>
              <a:gd name="connsiteY103" fmla="*/ 364377 h 6858000"/>
              <a:gd name="connsiteX104" fmla="*/ 10899941 w 12192000"/>
              <a:gd name="connsiteY104" fmla="*/ 357462 h 6858000"/>
              <a:gd name="connsiteX105" fmla="*/ 10900335 w 12192000"/>
              <a:gd name="connsiteY105" fmla="*/ 350547 h 6858000"/>
              <a:gd name="connsiteX106" fmla="*/ 10900054 w 12192000"/>
              <a:gd name="connsiteY106" fmla="*/ 344925 h 6858000"/>
              <a:gd name="connsiteX107" fmla="*/ 10899211 w 12192000"/>
              <a:gd name="connsiteY107" fmla="*/ 339697 h 6858000"/>
              <a:gd name="connsiteX108" fmla="*/ 10895219 w 12192000"/>
              <a:gd name="connsiteY108" fmla="*/ 339247 h 6858000"/>
              <a:gd name="connsiteX109" fmla="*/ 10890665 w 12192000"/>
              <a:gd name="connsiteY109" fmla="*/ 339247 h 6858000"/>
              <a:gd name="connsiteX110" fmla="*/ 10866153 w 12192000"/>
              <a:gd name="connsiteY110" fmla="*/ 346162 h 6858000"/>
              <a:gd name="connsiteX111" fmla="*/ 10850805 w 12192000"/>
              <a:gd name="connsiteY111" fmla="*/ 362466 h 6858000"/>
              <a:gd name="connsiteX112" fmla="*/ 10850018 w 12192000"/>
              <a:gd name="connsiteY112" fmla="*/ 351222 h 6858000"/>
              <a:gd name="connsiteX113" fmla="*/ 10848331 w 12192000"/>
              <a:gd name="connsiteY113" fmla="*/ 339978 h 6858000"/>
              <a:gd name="connsiteX114" fmla="*/ 10842709 w 12192000"/>
              <a:gd name="connsiteY114" fmla="*/ 339191 h 6858000"/>
              <a:gd name="connsiteX115" fmla="*/ 10836637 w 12192000"/>
              <a:gd name="connsiteY115" fmla="*/ 338909 h 6858000"/>
              <a:gd name="connsiteX116" fmla="*/ 10664715 w 12192000"/>
              <a:gd name="connsiteY116" fmla="*/ 338909 h 6858000"/>
              <a:gd name="connsiteX117" fmla="*/ 10658081 w 12192000"/>
              <a:gd name="connsiteY117" fmla="*/ 339191 h 6858000"/>
              <a:gd name="connsiteX118" fmla="*/ 10651166 w 12192000"/>
              <a:gd name="connsiteY118" fmla="*/ 339978 h 6858000"/>
              <a:gd name="connsiteX119" fmla="*/ 10651391 w 12192000"/>
              <a:gd name="connsiteY119" fmla="*/ 418799 h 6858000"/>
              <a:gd name="connsiteX120" fmla="*/ 10656619 w 12192000"/>
              <a:gd name="connsiteY120" fmla="*/ 453093 h 6858000"/>
              <a:gd name="connsiteX121" fmla="*/ 10671012 w 12192000"/>
              <a:gd name="connsiteY121" fmla="*/ 473333 h 6858000"/>
              <a:gd name="connsiteX122" fmla="*/ 10692207 w 12192000"/>
              <a:gd name="connsiteY122" fmla="*/ 482834 h 6858000"/>
              <a:gd name="connsiteX123" fmla="*/ 10717787 w 12192000"/>
              <a:gd name="connsiteY123" fmla="*/ 485195 h 6858000"/>
              <a:gd name="connsiteX124" fmla="*/ 10745560 w 12192000"/>
              <a:gd name="connsiteY124" fmla="*/ 482721 h 6858000"/>
              <a:gd name="connsiteX125" fmla="*/ 10768667 w 12192000"/>
              <a:gd name="connsiteY125" fmla="*/ 477437 h 6858000"/>
              <a:gd name="connsiteX126" fmla="*/ 10768667 w 12192000"/>
              <a:gd name="connsiteY126" fmla="*/ 339978 h 6858000"/>
              <a:gd name="connsiteX127" fmla="*/ 10761864 w 12192000"/>
              <a:gd name="connsiteY127" fmla="*/ 339191 h 6858000"/>
              <a:gd name="connsiteX128" fmla="*/ 10755118 w 12192000"/>
              <a:gd name="connsiteY128" fmla="*/ 338909 h 6858000"/>
              <a:gd name="connsiteX129" fmla="*/ 10748315 w 12192000"/>
              <a:gd name="connsiteY129" fmla="*/ 339191 h 6858000"/>
              <a:gd name="connsiteX130" fmla="*/ 10741512 w 12192000"/>
              <a:gd name="connsiteY130" fmla="*/ 339978 h 6858000"/>
              <a:gd name="connsiteX131" fmla="*/ 10741512 w 12192000"/>
              <a:gd name="connsiteY131" fmla="*/ 459278 h 6858000"/>
              <a:gd name="connsiteX132" fmla="*/ 10717506 w 12192000"/>
              <a:gd name="connsiteY132" fmla="*/ 462314 h 6858000"/>
              <a:gd name="connsiteX133" fmla="*/ 10700640 w 12192000"/>
              <a:gd name="connsiteY133" fmla="*/ 460346 h 6858000"/>
              <a:gd name="connsiteX134" fmla="*/ 10688496 w 12192000"/>
              <a:gd name="connsiteY134" fmla="*/ 453431 h 6858000"/>
              <a:gd name="connsiteX135" fmla="*/ 10681019 w 12192000"/>
              <a:gd name="connsiteY135" fmla="*/ 439769 h 6858000"/>
              <a:gd name="connsiteX136" fmla="*/ 10678545 w 12192000"/>
              <a:gd name="connsiteY136" fmla="*/ 417787 h 6858000"/>
              <a:gd name="connsiteX137" fmla="*/ 10678545 w 12192000"/>
              <a:gd name="connsiteY137" fmla="*/ 339978 h 6858000"/>
              <a:gd name="connsiteX138" fmla="*/ 10671630 w 12192000"/>
              <a:gd name="connsiteY138" fmla="*/ 339191 h 6858000"/>
              <a:gd name="connsiteX139" fmla="*/ 10664715 w 12192000"/>
              <a:gd name="connsiteY139" fmla="*/ 338909 h 6858000"/>
              <a:gd name="connsiteX140" fmla="*/ 10568184 w 12192000"/>
              <a:gd name="connsiteY140" fmla="*/ 336774 h 6858000"/>
              <a:gd name="connsiteX141" fmla="*/ 10538050 w 12192000"/>
              <a:gd name="connsiteY141" fmla="*/ 342396 h 6858000"/>
              <a:gd name="connsiteX142" fmla="*/ 10516349 w 12192000"/>
              <a:gd name="connsiteY142" fmla="*/ 358138 h 6858000"/>
              <a:gd name="connsiteX143" fmla="*/ 10503194 w 12192000"/>
              <a:gd name="connsiteY143" fmla="*/ 381638 h 6858000"/>
              <a:gd name="connsiteX144" fmla="*/ 10498808 w 12192000"/>
              <a:gd name="connsiteY144" fmla="*/ 410985 h 6858000"/>
              <a:gd name="connsiteX145" fmla="*/ 10516743 w 12192000"/>
              <a:gd name="connsiteY145" fmla="*/ 465013 h 6858000"/>
              <a:gd name="connsiteX146" fmla="*/ 10570152 w 12192000"/>
              <a:gd name="connsiteY146" fmla="*/ 485084 h 6858000"/>
              <a:gd name="connsiteX147" fmla="*/ 10607483 w 12192000"/>
              <a:gd name="connsiteY147" fmla="*/ 478731 h 6858000"/>
              <a:gd name="connsiteX148" fmla="*/ 10605515 w 12192000"/>
              <a:gd name="connsiteY148" fmla="*/ 466812 h 6858000"/>
              <a:gd name="connsiteX149" fmla="*/ 10601636 w 12192000"/>
              <a:gd name="connsiteY149" fmla="*/ 457142 h 6858000"/>
              <a:gd name="connsiteX150" fmla="*/ 10587412 w 12192000"/>
              <a:gd name="connsiteY150" fmla="*/ 461246 h 6858000"/>
              <a:gd name="connsiteX151" fmla="*/ 10572064 w 12192000"/>
              <a:gd name="connsiteY151" fmla="*/ 462370 h 6858000"/>
              <a:gd name="connsiteX152" fmla="*/ 10539456 w 12192000"/>
              <a:gd name="connsiteY152" fmla="*/ 450058 h 6858000"/>
              <a:gd name="connsiteX153" fmla="*/ 10527537 w 12192000"/>
              <a:gd name="connsiteY153" fmla="*/ 411210 h 6858000"/>
              <a:gd name="connsiteX154" fmla="*/ 10538050 w 12192000"/>
              <a:gd name="connsiteY154" fmla="*/ 373879 h 6858000"/>
              <a:gd name="connsiteX155" fmla="*/ 10569871 w 12192000"/>
              <a:gd name="connsiteY155" fmla="*/ 359768 h 6858000"/>
              <a:gd name="connsiteX156" fmla="*/ 10600849 w 12192000"/>
              <a:gd name="connsiteY156" fmla="*/ 364434 h 6858000"/>
              <a:gd name="connsiteX157" fmla="*/ 10604278 w 12192000"/>
              <a:gd name="connsiteY157" fmla="*/ 353527 h 6858000"/>
              <a:gd name="connsiteX158" fmla="*/ 10605515 w 12192000"/>
              <a:gd name="connsiteY158" fmla="*/ 342621 h 6858000"/>
              <a:gd name="connsiteX159" fmla="*/ 10588649 w 12192000"/>
              <a:gd name="connsiteY159" fmla="*/ 338179 h 6858000"/>
              <a:gd name="connsiteX160" fmla="*/ 10568184 w 12192000"/>
              <a:gd name="connsiteY160" fmla="*/ 336774 h 6858000"/>
              <a:gd name="connsiteX161" fmla="*/ 11458717 w 12192000"/>
              <a:gd name="connsiteY161" fmla="*/ 336717 h 6858000"/>
              <a:gd name="connsiteX162" fmla="*/ 11419363 w 12192000"/>
              <a:gd name="connsiteY162" fmla="*/ 347961 h 6858000"/>
              <a:gd name="connsiteX163" fmla="*/ 11405926 w 12192000"/>
              <a:gd name="connsiteY163" fmla="*/ 377815 h 6858000"/>
              <a:gd name="connsiteX164" fmla="*/ 11413966 w 12192000"/>
              <a:gd name="connsiteY164" fmla="*/ 400303 h 6858000"/>
              <a:gd name="connsiteX165" fmla="*/ 11439715 w 12192000"/>
              <a:gd name="connsiteY165" fmla="*/ 415257 h 6858000"/>
              <a:gd name="connsiteX166" fmla="*/ 11449385 w 12192000"/>
              <a:gd name="connsiteY166" fmla="*/ 418856 h 6858000"/>
              <a:gd name="connsiteX167" fmla="*/ 11459223 w 12192000"/>
              <a:gd name="connsiteY167" fmla="*/ 422285 h 6858000"/>
              <a:gd name="connsiteX168" fmla="*/ 11467207 w 12192000"/>
              <a:gd name="connsiteY168" fmla="*/ 426558 h 6858000"/>
              <a:gd name="connsiteX169" fmla="*/ 11469006 w 12192000"/>
              <a:gd name="connsiteY169" fmla="*/ 428525 h 6858000"/>
              <a:gd name="connsiteX170" fmla="*/ 11477046 w 12192000"/>
              <a:gd name="connsiteY170" fmla="*/ 403339 h 6858000"/>
              <a:gd name="connsiteX171" fmla="*/ 11469793 w 12192000"/>
              <a:gd name="connsiteY171" fmla="*/ 400022 h 6858000"/>
              <a:gd name="connsiteX172" fmla="*/ 11457593 w 12192000"/>
              <a:gd name="connsiteY172" fmla="*/ 395861 h 6858000"/>
              <a:gd name="connsiteX173" fmla="*/ 11448317 w 12192000"/>
              <a:gd name="connsiteY173" fmla="*/ 392544 h 6858000"/>
              <a:gd name="connsiteX174" fmla="*/ 11440727 w 12192000"/>
              <a:gd name="connsiteY174" fmla="*/ 388553 h 6858000"/>
              <a:gd name="connsiteX175" fmla="*/ 11435498 w 12192000"/>
              <a:gd name="connsiteY175" fmla="*/ 382931 h 6858000"/>
              <a:gd name="connsiteX176" fmla="*/ 11433531 w 12192000"/>
              <a:gd name="connsiteY176" fmla="*/ 374891 h 6858000"/>
              <a:gd name="connsiteX177" fmla="*/ 11441458 w 12192000"/>
              <a:gd name="connsiteY177" fmla="*/ 362185 h 6858000"/>
              <a:gd name="connsiteX178" fmla="*/ 11459561 w 12192000"/>
              <a:gd name="connsiteY178" fmla="*/ 358587 h 6858000"/>
              <a:gd name="connsiteX179" fmla="*/ 11477664 w 12192000"/>
              <a:gd name="connsiteY179" fmla="*/ 360667 h 6858000"/>
              <a:gd name="connsiteX180" fmla="*/ 11489470 w 12192000"/>
              <a:gd name="connsiteY180" fmla="*/ 364041 h 6858000"/>
              <a:gd name="connsiteX181" fmla="*/ 11496160 w 12192000"/>
              <a:gd name="connsiteY181" fmla="*/ 343070 h 6858000"/>
              <a:gd name="connsiteX182" fmla="*/ 11479856 w 12192000"/>
              <a:gd name="connsiteY182" fmla="*/ 338798 h 6858000"/>
              <a:gd name="connsiteX183" fmla="*/ 11458717 w 12192000"/>
              <a:gd name="connsiteY183" fmla="*/ 336717 h 6858000"/>
              <a:gd name="connsiteX184" fmla="*/ 10995433 w 12192000"/>
              <a:gd name="connsiteY184" fmla="*/ 336550 h 6858000"/>
              <a:gd name="connsiteX185" fmla="*/ 10966395 w 12192000"/>
              <a:gd name="connsiteY185" fmla="*/ 342395 h 6858000"/>
              <a:gd name="connsiteX186" fmla="*/ 10945649 w 12192000"/>
              <a:gd name="connsiteY186" fmla="*/ 358137 h 6858000"/>
              <a:gd name="connsiteX187" fmla="*/ 10933337 w 12192000"/>
              <a:gd name="connsiteY187" fmla="*/ 381637 h 6858000"/>
              <a:gd name="connsiteX188" fmla="*/ 10933337 w 12192000"/>
              <a:gd name="connsiteY188" fmla="*/ 440275 h 6858000"/>
              <a:gd name="connsiteX189" fmla="*/ 10945706 w 12192000"/>
              <a:gd name="connsiteY189" fmla="*/ 464000 h 6858000"/>
              <a:gd name="connsiteX190" fmla="*/ 10966451 w 12192000"/>
              <a:gd name="connsiteY190" fmla="*/ 479630 h 6858000"/>
              <a:gd name="connsiteX191" fmla="*/ 10995461 w 12192000"/>
              <a:gd name="connsiteY191" fmla="*/ 485252 h 6858000"/>
              <a:gd name="connsiteX192" fmla="*/ 11024470 w 12192000"/>
              <a:gd name="connsiteY192" fmla="*/ 479405 h 6858000"/>
              <a:gd name="connsiteX193" fmla="*/ 11045216 w 12192000"/>
              <a:gd name="connsiteY193" fmla="*/ 463775 h 6858000"/>
              <a:gd name="connsiteX194" fmla="*/ 11057528 w 12192000"/>
              <a:gd name="connsiteY194" fmla="*/ 440275 h 6858000"/>
              <a:gd name="connsiteX195" fmla="*/ 11057528 w 12192000"/>
              <a:gd name="connsiteY195" fmla="*/ 381637 h 6858000"/>
              <a:gd name="connsiteX196" fmla="*/ 11045216 w 12192000"/>
              <a:gd name="connsiteY196" fmla="*/ 358137 h 6858000"/>
              <a:gd name="connsiteX197" fmla="*/ 11024470 w 12192000"/>
              <a:gd name="connsiteY197" fmla="*/ 342395 h 6858000"/>
              <a:gd name="connsiteX198" fmla="*/ 10995433 w 12192000"/>
              <a:gd name="connsiteY198" fmla="*/ 336550 h 6858000"/>
              <a:gd name="connsiteX199" fmla="*/ 10247109 w 12192000"/>
              <a:gd name="connsiteY199" fmla="*/ 336492 h 6858000"/>
              <a:gd name="connsiteX200" fmla="*/ 10237383 w 12192000"/>
              <a:gd name="connsiteY200" fmla="*/ 337055 h 6858000"/>
              <a:gd name="connsiteX201" fmla="*/ 10229287 w 12192000"/>
              <a:gd name="connsiteY201" fmla="*/ 362298 h 6858000"/>
              <a:gd name="connsiteX202" fmla="*/ 10229793 w 12192000"/>
              <a:gd name="connsiteY202" fmla="*/ 362129 h 6858000"/>
              <a:gd name="connsiteX203" fmla="*/ 10247952 w 12192000"/>
              <a:gd name="connsiteY203" fmla="*/ 358531 h 6858000"/>
              <a:gd name="connsiteX204" fmla="*/ 10266055 w 12192000"/>
              <a:gd name="connsiteY204" fmla="*/ 360611 h 6858000"/>
              <a:gd name="connsiteX205" fmla="*/ 10280560 w 12192000"/>
              <a:gd name="connsiteY205" fmla="*/ 364884 h 6858000"/>
              <a:gd name="connsiteX206" fmla="*/ 10284327 w 12192000"/>
              <a:gd name="connsiteY206" fmla="*/ 354652 h 6858000"/>
              <a:gd name="connsiteX207" fmla="*/ 10286351 w 12192000"/>
              <a:gd name="connsiteY207" fmla="*/ 343408 h 6858000"/>
              <a:gd name="connsiteX208" fmla="*/ 10268248 w 12192000"/>
              <a:gd name="connsiteY208" fmla="*/ 338573 h 6858000"/>
              <a:gd name="connsiteX209" fmla="*/ 10247109 w 12192000"/>
              <a:gd name="connsiteY209" fmla="*/ 336492 h 6858000"/>
              <a:gd name="connsiteX210" fmla="*/ 11158725 w 12192000"/>
              <a:gd name="connsiteY210" fmla="*/ 336436 h 6858000"/>
              <a:gd name="connsiteX211" fmla="*/ 11119370 w 12192000"/>
              <a:gd name="connsiteY211" fmla="*/ 347681 h 6858000"/>
              <a:gd name="connsiteX212" fmla="*/ 11105990 w 12192000"/>
              <a:gd name="connsiteY212" fmla="*/ 377534 h 6858000"/>
              <a:gd name="connsiteX213" fmla="*/ 11114029 w 12192000"/>
              <a:gd name="connsiteY213" fmla="*/ 400022 h 6858000"/>
              <a:gd name="connsiteX214" fmla="*/ 11139722 w 12192000"/>
              <a:gd name="connsiteY214" fmla="*/ 414977 h 6858000"/>
              <a:gd name="connsiteX215" fmla="*/ 11149392 w 12192000"/>
              <a:gd name="connsiteY215" fmla="*/ 418575 h 6858000"/>
              <a:gd name="connsiteX216" fmla="*/ 11159230 w 12192000"/>
              <a:gd name="connsiteY216" fmla="*/ 422004 h 6858000"/>
              <a:gd name="connsiteX217" fmla="*/ 11167270 w 12192000"/>
              <a:gd name="connsiteY217" fmla="*/ 426277 h 6858000"/>
              <a:gd name="connsiteX218" fmla="*/ 11172892 w 12192000"/>
              <a:gd name="connsiteY218" fmla="*/ 432405 h 6858000"/>
              <a:gd name="connsiteX219" fmla="*/ 11174972 w 12192000"/>
              <a:gd name="connsiteY219" fmla="*/ 441513 h 6858000"/>
              <a:gd name="connsiteX220" fmla="*/ 11172330 w 12192000"/>
              <a:gd name="connsiteY220" fmla="*/ 450508 h 6858000"/>
              <a:gd name="connsiteX221" fmla="*/ 11165415 w 12192000"/>
              <a:gd name="connsiteY221" fmla="*/ 457254 h 6858000"/>
              <a:gd name="connsiteX222" fmla="*/ 11155351 w 12192000"/>
              <a:gd name="connsiteY222" fmla="*/ 461415 h 6858000"/>
              <a:gd name="connsiteX223" fmla="*/ 11143152 w 12192000"/>
              <a:gd name="connsiteY223" fmla="*/ 462820 h 6858000"/>
              <a:gd name="connsiteX224" fmla="*/ 11125330 w 12192000"/>
              <a:gd name="connsiteY224" fmla="*/ 461021 h 6858000"/>
              <a:gd name="connsiteX225" fmla="*/ 11108857 w 12192000"/>
              <a:gd name="connsiteY225" fmla="*/ 456186 h 6858000"/>
              <a:gd name="connsiteX226" fmla="*/ 11104640 w 12192000"/>
              <a:gd name="connsiteY226" fmla="*/ 467374 h 6858000"/>
              <a:gd name="connsiteX227" fmla="*/ 11102279 w 12192000"/>
              <a:gd name="connsiteY227" fmla="*/ 478618 h 6858000"/>
              <a:gd name="connsiteX228" fmla="*/ 11120832 w 12192000"/>
              <a:gd name="connsiteY228" fmla="*/ 483453 h 6858000"/>
              <a:gd name="connsiteX229" fmla="*/ 11144051 w 12192000"/>
              <a:gd name="connsiteY229" fmla="*/ 485252 h 6858000"/>
              <a:gd name="connsiteX230" fmla="*/ 11167832 w 12192000"/>
              <a:gd name="connsiteY230" fmla="*/ 481935 h 6858000"/>
              <a:gd name="connsiteX231" fmla="*/ 11186216 w 12192000"/>
              <a:gd name="connsiteY231" fmla="*/ 472659 h 6858000"/>
              <a:gd name="connsiteX232" fmla="*/ 11197966 w 12192000"/>
              <a:gd name="connsiteY232" fmla="*/ 458266 h 6858000"/>
              <a:gd name="connsiteX233" fmla="*/ 11199484 w 12192000"/>
              <a:gd name="connsiteY233" fmla="*/ 424028 h 6858000"/>
              <a:gd name="connsiteX234" fmla="*/ 11192569 w 12192000"/>
              <a:gd name="connsiteY234" fmla="*/ 412784 h 6858000"/>
              <a:gd name="connsiteX235" fmla="*/ 11182337 w 12192000"/>
              <a:gd name="connsiteY235" fmla="*/ 405138 h 6858000"/>
              <a:gd name="connsiteX236" fmla="*/ 11169744 w 12192000"/>
              <a:gd name="connsiteY236" fmla="*/ 399909 h 6858000"/>
              <a:gd name="connsiteX237" fmla="*/ 11157600 w 12192000"/>
              <a:gd name="connsiteY237" fmla="*/ 395749 h 6858000"/>
              <a:gd name="connsiteX238" fmla="*/ 11148324 w 12192000"/>
              <a:gd name="connsiteY238" fmla="*/ 392432 h 6858000"/>
              <a:gd name="connsiteX239" fmla="*/ 11140735 w 12192000"/>
              <a:gd name="connsiteY239" fmla="*/ 388440 h 6858000"/>
              <a:gd name="connsiteX240" fmla="*/ 11135450 w 12192000"/>
              <a:gd name="connsiteY240" fmla="*/ 382818 h 6858000"/>
              <a:gd name="connsiteX241" fmla="*/ 11133538 w 12192000"/>
              <a:gd name="connsiteY241" fmla="*/ 374779 h 6858000"/>
              <a:gd name="connsiteX242" fmla="*/ 11141409 w 12192000"/>
              <a:gd name="connsiteY242" fmla="*/ 362073 h 6858000"/>
              <a:gd name="connsiteX243" fmla="*/ 11159512 w 12192000"/>
              <a:gd name="connsiteY243" fmla="*/ 358475 h 6858000"/>
              <a:gd name="connsiteX244" fmla="*/ 11177671 w 12192000"/>
              <a:gd name="connsiteY244" fmla="*/ 360555 h 6858000"/>
              <a:gd name="connsiteX245" fmla="*/ 11192176 w 12192000"/>
              <a:gd name="connsiteY245" fmla="*/ 364828 h 6858000"/>
              <a:gd name="connsiteX246" fmla="*/ 11195887 w 12192000"/>
              <a:gd name="connsiteY246" fmla="*/ 354596 h 6858000"/>
              <a:gd name="connsiteX247" fmla="*/ 11197967 w 12192000"/>
              <a:gd name="connsiteY247" fmla="*/ 343352 h 6858000"/>
              <a:gd name="connsiteX248" fmla="*/ 11179864 w 12192000"/>
              <a:gd name="connsiteY248" fmla="*/ 338517 h 6858000"/>
              <a:gd name="connsiteX249" fmla="*/ 11158725 w 12192000"/>
              <a:gd name="connsiteY249" fmla="*/ 336436 h 6858000"/>
              <a:gd name="connsiteX250" fmla="*/ 10397667 w 12192000"/>
              <a:gd name="connsiteY250" fmla="*/ 336268 h 6858000"/>
              <a:gd name="connsiteX251" fmla="*/ 10367927 w 12192000"/>
              <a:gd name="connsiteY251" fmla="*/ 342227 h 6858000"/>
              <a:gd name="connsiteX252" fmla="*/ 10347069 w 12192000"/>
              <a:gd name="connsiteY252" fmla="*/ 358306 h 6858000"/>
              <a:gd name="connsiteX253" fmla="*/ 10334757 w 12192000"/>
              <a:gd name="connsiteY253" fmla="*/ 382087 h 6858000"/>
              <a:gd name="connsiteX254" fmla="*/ 10330709 w 12192000"/>
              <a:gd name="connsiteY254" fmla="*/ 411491 h 6858000"/>
              <a:gd name="connsiteX255" fmla="*/ 10334869 w 12192000"/>
              <a:gd name="connsiteY255" fmla="*/ 440950 h 6858000"/>
              <a:gd name="connsiteX256" fmla="*/ 10370850 w 12192000"/>
              <a:gd name="connsiteY256" fmla="*/ 479405 h 6858000"/>
              <a:gd name="connsiteX257" fmla="*/ 10404020 w 12192000"/>
              <a:gd name="connsiteY257" fmla="*/ 485027 h 6858000"/>
              <a:gd name="connsiteX258" fmla="*/ 10428251 w 12192000"/>
              <a:gd name="connsiteY258" fmla="*/ 483116 h 6858000"/>
              <a:gd name="connsiteX259" fmla="*/ 10448266 w 12192000"/>
              <a:gd name="connsiteY259" fmla="*/ 477494 h 6858000"/>
              <a:gd name="connsiteX260" fmla="*/ 10446635 w 12192000"/>
              <a:gd name="connsiteY260" fmla="*/ 465744 h 6858000"/>
              <a:gd name="connsiteX261" fmla="*/ 10443037 w 12192000"/>
              <a:gd name="connsiteY261" fmla="*/ 455680 h 6858000"/>
              <a:gd name="connsiteX262" fmla="*/ 10405650 w 12192000"/>
              <a:gd name="connsiteY262" fmla="*/ 462595 h 6858000"/>
              <a:gd name="connsiteX263" fmla="*/ 10371918 w 12192000"/>
              <a:gd name="connsiteY263" fmla="*/ 451801 h 6858000"/>
              <a:gd name="connsiteX264" fmla="*/ 10359887 w 12192000"/>
              <a:gd name="connsiteY264" fmla="*/ 417787 h 6858000"/>
              <a:gd name="connsiteX265" fmla="*/ 10456474 w 12192000"/>
              <a:gd name="connsiteY265" fmla="*/ 417338 h 6858000"/>
              <a:gd name="connsiteX266" fmla="*/ 10457036 w 12192000"/>
              <a:gd name="connsiteY266" fmla="*/ 409973 h 6858000"/>
              <a:gd name="connsiteX267" fmla="*/ 10457036 w 12192000"/>
              <a:gd name="connsiteY267" fmla="*/ 401821 h 6858000"/>
              <a:gd name="connsiteX268" fmla="*/ 10453157 w 12192000"/>
              <a:gd name="connsiteY268" fmla="*/ 375678 h 6858000"/>
              <a:gd name="connsiteX269" fmla="*/ 10441913 w 12192000"/>
              <a:gd name="connsiteY269" fmla="*/ 354989 h 6858000"/>
              <a:gd name="connsiteX270" fmla="*/ 10423360 w 12192000"/>
              <a:gd name="connsiteY270" fmla="*/ 341271 h 6858000"/>
              <a:gd name="connsiteX271" fmla="*/ 10397667 w 12192000"/>
              <a:gd name="connsiteY271" fmla="*/ 336268 h 6858000"/>
              <a:gd name="connsiteX272" fmla="*/ 0 w 12192000"/>
              <a:gd name="connsiteY272" fmla="*/ 0 h 6858000"/>
              <a:gd name="connsiteX273" fmla="*/ 12192000 w 12192000"/>
              <a:gd name="connsiteY273" fmla="*/ 0 h 6858000"/>
              <a:gd name="connsiteX274" fmla="*/ 12192000 w 12192000"/>
              <a:gd name="connsiteY274" fmla="*/ 6858000 h 6858000"/>
              <a:gd name="connsiteX275" fmla="*/ 0 w 12192000"/>
              <a:gd name="connsiteY27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</a:cxnLst>
            <a:rect l="l" t="t" r="r" b="b"/>
            <a:pathLst>
              <a:path w="12192000" h="6858000">
                <a:moveTo>
                  <a:pt x="695326" y="563715"/>
                </a:moveTo>
                <a:lnTo>
                  <a:pt x="695326" y="637674"/>
                </a:lnTo>
                <a:lnTo>
                  <a:pt x="695478" y="637674"/>
                </a:lnTo>
                <a:lnTo>
                  <a:pt x="769850" y="563715"/>
                </a:lnTo>
                <a:close/>
                <a:moveTo>
                  <a:pt x="11408682" y="456185"/>
                </a:moveTo>
                <a:cubicBezTo>
                  <a:pt x="11407164" y="459840"/>
                  <a:pt x="11405870" y="463606"/>
                  <a:pt x="11404634" y="467429"/>
                </a:cubicBezTo>
                <a:cubicBezTo>
                  <a:pt x="11403465" y="471084"/>
                  <a:pt x="11402692" y="474854"/>
                  <a:pt x="11402329" y="478673"/>
                </a:cubicBezTo>
                <a:cubicBezTo>
                  <a:pt x="11408350" y="480794"/>
                  <a:pt x="11414537" y="482411"/>
                  <a:pt x="11420825" y="483508"/>
                </a:cubicBezTo>
                <a:cubicBezTo>
                  <a:pt x="11428498" y="484781"/>
                  <a:pt x="11436267" y="485383"/>
                  <a:pt x="11444044" y="485307"/>
                </a:cubicBezTo>
                <a:cubicBezTo>
                  <a:pt x="11446406" y="485308"/>
                  <a:pt x="11448598" y="485026"/>
                  <a:pt x="11450847" y="484858"/>
                </a:cubicBezTo>
                <a:lnTo>
                  <a:pt x="11458662" y="460402"/>
                </a:lnTo>
                <a:cubicBezTo>
                  <a:pt x="11457504" y="460814"/>
                  <a:pt x="11456321" y="461152"/>
                  <a:pt x="11455120" y="461414"/>
                </a:cubicBezTo>
                <a:cubicBezTo>
                  <a:pt x="11451139" y="462344"/>
                  <a:pt x="11447064" y="462816"/>
                  <a:pt x="11442976" y="462819"/>
                </a:cubicBezTo>
                <a:cubicBezTo>
                  <a:pt x="11436973" y="462800"/>
                  <a:pt x="11430985" y="462197"/>
                  <a:pt x="11425098" y="461020"/>
                </a:cubicBezTo>
                <a:cubicBezTo>
                  <a:pt x="11419490" y="459912"/>
                  <a:pt x="11413995" y="458293"/>
                  <a:pt x="11408682" y="456185"/>
                </a:cubicBezTo>
                <a:close/>
                <a:moveTo>
                  <a:pt x="10223271" y="381243"/>
                </a:moveTo>
                <a:lnTo>
                  <a:pt x="10214501" y="408679"/>
                </a:lnTo>
                <a:cubicBezTo>
                  <a:pt x="10218849" y="411054"/>
                  <a:pt x="10223357" y="413120"/>
                  <a:pt x="10227994" y="414863"/>
                </a:cubicBezTo>
                <a:lnTo>
                  <a:pt x="10237720" y="418461"/>
                </a:lnTo>
                <a:cubicBezTo>
                  <a:pt x="10241206" y="419530"/>
                  <a:pt x="10244467" y="420710"/>
                  <a:pt x="10247559" y="421891"/>
                </a:cubicBezTo>
                <a:cubicBezTo>
                  <a:pt x="10250379" y="422995"/>
                  <a:pt x="10253059" y="424429"/>
                  <a:pt x="10255542" y="426164"/>
                </a:cubicBezTo>
                <a:cubicBezTo>
                  <a:pt x="10257843" y="427769"/>
                  <a:pt x="10259763" y="429861"/>
                  <a:pt x="10261164" y="432292"/>
                </a:cubicBezTo>
                <a:cubicBezTo>
                  <a:pt x="10262665" y="435085"/>
                  <a:pt x="10263384" y="438232"/>
                  <a:pt x="10263244" y="441399"/>
                </a:cubicBezTo>
                <a:cubicBezTo>
                  <a:pt x="10263286" y="444587"/>
                  <a:pt x="10262387" y="447716"/>
                  <a:pt x="10260658" y="450395"/>
                </a:cubicBezTo>
                <a:cubicBezTo>
                  <a:pt x="10258813" y="453090"/>
                  <a:pt x="10256442" y="455385"/>
                  <a:pt x="10253687" y="457141"/>
                </a:cubicBezTo>
                <a:cubicBezTo>
                  <a:pt x="10250606" y="459114"/>
                  <a:pt x="10247198" y="460523"/>
                  <a:pt x="10243623" y="461301"/>
                </a:cubicBezTo>
                <a:cubicBezTo>
                  <a:pt x="10239642" y="462232"/>
                  <a:pt x="10235568" y="462703"/>
                  <a:pt x="10231480" y="462707"/>
                </a:cubicBezTo>
                <a:cubicBezTo>
                  <a:pt x="10220437" y="462830"/>
                  <a:pt x="10209464" y="460944"/>
                  <a:pt x="10199097" y="457141"/>
                </a:cubicBezTo>
                <a:lnTo>
                  <a:pt x="10192013" y="479180"/>
                </a:lnTo>
                <a:cubicBezTo>
                  <a:pt x="10197626" y="481109"/>
                  <a:pt x="10203377" y="482613"/>
                  <a:pt x="10209216" y="483677"/>
                </a:cubicBezTo>
                <a:cubicBezTo>
                  <a:pt x="10216889" y="484950"/>
                  <a:pt x="10224658" y="485552"/>
                  <a:pt x="10232435" y="485476"/>
                </a:cubicBezTo>
                <a:cubicBezTo>
                  <a:pt x="10240483" y="485554"/>
                  <a:pt x="10248497" y="484436"/>
                  <a:pt x="10256217" y="482159"/>
                </a:cubicBezTo>
                <a:cubicBezTo>
                  <a:pt x="10262870" y="480243"/>
                  <a:pt x="10269106" y="477096"/>
                  <a:pt x="10274601" y="472883"/>
                </a:cubicBezTo>
                <a:cubicBezTo>
                  <a:pt x="10279598" y="469080"/>
                  <a:pt x="10283625" y="464148"/>
                  <a:pt x="10286351" y="458491"/>
                </a:cubicBezTo>
                <a:cubicBezTo>
                  <a:pt x="10289196" y="452686"/>
                  <a:pt x="10290622" y="446289"/>
                  <a:pt x="10290511" y="439825"/>
                </a:cubicBezTo>
                <a:cubicBezTo>
                  <a:pt x="10290687" y="434423"/>
                  <a:pt x="10289809" y="429038"/>
                  <a:pt x="10287925" y="423971"/>
                </a:cubicBezTo>
                <a:cubicBezTo>
                  <a:pt x="10286349" y="419808"/>
                  <a:pt x="10283982" y="415990"/>
                  <a:pt x="10280954" y="412727"/>
                </a:cubicBezTo>
                <a:cubicBezTo>
                  <a:pt x="10278019" y="409621"/>
                  <a:pt x="10274578" y="407036"/>
                  <a:pt x="10270778" y="405081"/>
                </a:cubicBezTo>
                <a:cubicBezTo>
                  <a:pt x="10266714" y="403031"/>
                  <a:pt x="10262505" y="401283"/>
                  <a:pt x="10258185" y="399853"/>
                </a:cubicBezTo>
                <a:lnTo>
                  <a:pt x="10245984" y="395692"/>
                </a:lnTo>
                <a:cubicBezTo>
                  <a:pt x="10242667" y="394568"/>
                  <a:pt x="10239575" y="393500"/>
                  <a:pt x="10236708" y="392375"/>
                </a:cubicBezTo>
                <a:cubicBezTo>
                  <a:pt x="10234033" y="391341"/>
                  <a:pt x="10231486" y="390002"/>
                  <a:pt x="10229118" y="388383"/>
                </a:cubicBezTo>
                <a:cubicBezTo>
                  <a:pt x="10227002" y="386894"/>
                  <a:pt x="10225222" y="384979"/>
                  <a:pt x="10223890" y="382761"/>
                </a:cubicBezTo>
                <a:cubicBezTo>
                  <a:pt x="10223626" y="382281"/>
                  <a:pt x="10223419" y="381771"/>
                  <a:pt x="10223271" y="381243"/>
                </a:cubicBezTo>
                <a:close/>
                <a:moveTo>
                  <a:pt x="10995461" y="359149"/>
                </a:moveTo>
                <a:cubicBezTo>
                  <a:pt x="11006587" y="358414"/>
                  <a:pt x="11017275" y="363608"/>
                  <a:pt x="11023571" y="372810"/>
                </a:cubicBezTo>
                <a:cubicBezTo>
                  <a:pt x="11035713" y="396970"/>
                  <a:pt x="11035713" y="425448"/>
                  <a:pt x="11023571" y="449608"/>
                </a:cubicBezTo>
                <a:cubicBezTo>
                  <a:pt x="11017325" y="458880"/>
                  <a:pt x="11006616" y="464127"/>
                  <a:pt x="10995461" y="463382"/>
                </a:cubicBezTo>
                <a:lnTo>
                  <a:pt x="10995461" y="463325"/>
                </a:lnTo>
                <a:cubicBezTo>
                  <a:pt x="10984301" y="464167"/>
                  <a:pt x="10973555" y="458923"/>
                  <a:pt x="10967350" y="449608"/>
                </a:cubicBezTo>
                <a:cubicBezTo>
                  <a:pt x="10955359" y="425413"/>
                  <a:pt x="10955359" y="397005"/>
                  <a:pt x="10967350" y="372810"/>
                </a:cubicBezTo>
                <a:cubicBezTo>
                  <a:pt x="10973592" y="363545"/>
                  <a:pt x="10984319" y="358332"/>
                  <a:pt x="10995461" y="359149"/>
                </a:cubicBezTo>
                <a:close/>
                <a:moveTo>
                  <a:pt x="10396936" y="358587"/>
                </a:moveTo>
                <a:cubicBezTo>
                  <a:pt x="10402051" y="358447"/>
                  <a:pt x="10407124" y="359546"/>
                  <a:pt x="10411722" y="361792"/>
                </a:cubicBezTo>
                <a:cubicBezTo>
                  <a:pt x="10415757" y="363747"/>
                  <a:pt x="10419265" y="366638"/>
                  <a:pt x="10421954" y="370225"/>
                </a:cubicBezTo>
                <a:cubicBezTo>
                  <a:pt x="10424745" y="373912"/>
                  <a:pt x="10426824" y="378088"/>
                  <a:pt x="10428082" y="382537"/>
                </a:cubicBezTo>
                <a:cubicBezTo>
                  <a:pt x="10429450" y="387346"/>
                  <a:pt x="10430131" y="392324"/>
                  <a:pt x="10430106" y="397323"/>
                </a:cubicBezTo>
                <a:lnTo>
                  <a:pt x="10360168" y="397323"/>
                </a:lnTo>
                <a:cubicBezTo>
                  <a:pt x="10360761" y="386921"/>
                  <a:pt x="10364573" y="376960"/>
                  <a:pt x="10371075" y="368819"/>
                </a:cubicBezTo>
                <a:cubicBezTo>
                  <a:pt x="10377740" y="361726"/>
                  <a:pt x="10387222" y="357974"/>
                  <a:pt x="10396936" y="358587"/>
                </a:cubicBezTo>
                <a:close/>
                <a:moveTo>
                  <a:pt x="11356340" y="339023"/>
                </a:moveTo>
                <a:cubicBezTo>
                  <a:pt x="11351812" y="338994"/>
                  <a:pt x="11347286" y="339257"/>
                  <a:pt x="11342791" y="339810"/>
                </a:cubicBezTo>
                <a:lnTo>
                  <a:pt x="11302143" y="471759"/>
                </a:lnTo>
                <a:lnTo>
                  <a:pt x="11262789" y="339810"/>
                </a:lnTo>
                <a:cubicBezTo>
                  <a:pt x="11260313" y="339429"/>
                  <a:pt x="11257816" y="339204"/>
                  <a:pt x="11255312" y="339135"/>
                </a:cubicBezTo>
                <a:lnTo>
                  <a:pt x="11247328" y="339135"/>
                </a:lnTo>
                <a:lnTo>
                  <a:pt x="11240132" y="339135"/>
                </a:lnTo>
                <a:cubicBezTo>
                  <a:pt x="11237546" y="339247"/>
                  <a:pt x="11235016" y="339472"/>
                  <a:pt x="11232655" y="339810"/>
                </a:cubicBezTo>
                <a:lnTo>
                  <a:pt x="11279655" y="481710"/>
                </a:lnTo>
                <a:cubicBezTo>
                  <a:pt x="11280948" y="481879"/>
                  <a:pt x="11282635" y="482160"/>
                  <a:pt x="11284659" y="482160"/>
                </a:cubicBezTo>
                <a:lnTo>
                  <a:pt x="11290281" y="482160"/>
                </a:lnTo>
                <a:lnTo>
                  <a:pt x="11294835" y="482160"/>
                </a:lnTo>
                <a:lnTo>
                  <a:pt x="11299389" y="482160"/>
                </a:lnTo>
                <a:lnTo>
                  <a:pt x="11290731" y="508977"/>
                </a:lnTo>
                <a:cubicBezTo>
                  <a:pt x="11289584" y="512631"/>
                  <a:pt x="11288058" y="516154"/>
                  <a:pt x="11286177" y="519490"/>
                </a:cubicBezTo>
                <a:cubicBezTo>
                  <a:pt x="11284845" y="521769"/>
                  <a:pt x="11283112" y="523787"/>
                  <a:pt x="11281061" y="525450"/>
                </a:cubicBezTo>
                <a:cubicBezTo>
                  <a:pt x="11279307" y="526803"/>
                  <a:pt x="11277270" y="527744"/>
                  <a:pt x="11275102" y="528205"/>
                </a:cubicBezTo>
                <a:cubicBezTo>
                  <a:pt x="11272864" y="528666"/>
                  <a:pt x="11270584" y="528892"/>
                  <a:pt x="11268299" y="528879"/>
                </a:cubicBezTo>
                <a:cubicBezTo>
                  <a:pt x="11265199" y="528919"/>
                  <a:pt x="11262105" y="528598"/>
                  <a:pt x="11259079" y="527923"/>
                </a:cubicBezTo>
                <a:cubicBezTo>
                  <a:pt x="11256781" y="527446"/>
                  <a:pt x="11254510" y="526845"/>
                  <a:pt x="11252276" y="526124"/>
                </a:cubicBezTo>
                <a:cubicBezTo>
                  <a:pt x="11249207" y="532799"/>
                  <a:pt x="11247707" y="540088"/>
                  <a:pt x="11247891" y="547432"/>
                </a:cubicBezTo>
                <a:cubicBezTo>
                  <a:pt x="11251476" y="548437"/>
                  <a:pt x="11255118" y="549226"/>
                  <a:pt x="11258798" y="549793"/>
                </a:cubicBezTo>
                <a:cubicBezTo>
                  <a:pt x="11262947" y="550423"/>
                  <a:pt x="11267138" y="550743"/>
                  <a:pt x="11271335" y="550749"/>
                </a:cubicBezTo>
                <a:cubicBezTo>
                  <a:pt x="11276441" y="550841"/>
                  <a:pt x="11281535" y="550198"/>
                  <a:pt x="11286458" y="548838"/>
                </a:cubicBezTo>
                <a:cubicBezTo>
                  <a:pt x="11290809" y="547503"/>
                  <a:pt x="11294818" y="545240"/>
                  <a:pt x="11298208" y="542204"/>
                </a:cubicBezTo>
                <a:cubicBezTo>
                  <a:pt x="11302036" y="538617"/>
                  <a:pt x="11305212" y="534394"/>
                  <a:pt x="11307597" y="529723"/>
                </a:cubicBezTo>
                <a:cubicBezTo>
                  <a:pt x="11310770" y="523589"/>
                  <a:pt x="11313458" y="517217"/>
                  <a:pt x="11315636" y="510664"/>
                </a:cubicBezTo>
                <a:lnTo>
                  <a:pt x="11371014" y="339697"/>
                </a:lnTo>
                <a:cubicBezTo>
                  <a:pt x="11368428" y="339247"/>
                  <a:pt x="11365841" y="339023"/>
                  <a:pt x="11363255" y="339023"/>
                </a:cubicBezTo>
                <a:close/>
                <a:moveTo>
                  <a:pt x="10836637" y="338909"/>
                </a:moveTo>
                <a:cubicBezTo>
                  <a:pt x="10834782" y="338909"/>
                  <a:pt x="10832645" y="339022"/>
                  <a:pt x="10831015" y="339191"/>
                </a:cubicBezTo>
                <a:cubicBezTo>
                  <a:pt x="10829385" y="339359"/>
                  <a:pt x="10827417" y="339640"/>
                  <a:pt x="10825393" y="339978"/>
                </a:cubicBezTo>
                <a:lnTo>
                  <a:pt x="10825112" y="481878"/>
                </a:lnTo>
                <a:cubicBezTo>
                  <a:pt x="10827438" y="482283"/>
                  <a:pt x="10829784" y="482565"/>
                  <a:pt x="10832139" y="482721"/>
                </a:cubicBezTo>
                <a:cubicBezTo>
                  <a:pt x="10834669" y="483003"/>
                  <a:pt x="10836918" y="483003"/>
                  <a:pt x="10838942" y="483003"/>
                </a:cubicBezTo>
                <a:cubicBezTo>
                  <a:pt x="10840966" y="483003"/>
                  <a:pt x="10843215" y="482721"/>
                  <a:pt x="10845745" y="482721"/>
                </a:cubicBezTo>
                <a:cubicBezTo>
                  <a:pt x="10848009" y="482579"/>
                  <a:pt x="10850262" y="482298"/>
                  <a:pt x="10852491" y="481878"/>
                </a:cubicBezTo>
                <a:lnTo>
                  <a:pt x="10852491" y="411153"/>
                </a:lnTo>
                <a:cubicBezTo>
                  <a:pt x="10852258" y="403178"/>
                  <a:pt x="10853340" y="395219"/>
                  <a:pt x="10855696" y="387596"/>
                </a:cubicBezTo>
                <a:cubicBezTo>
                  <a:pt x="10857372" y="382210"/>
                  <a:pt x="10860300" y="377296"/>
                  <a:pt x="10864241" y="373260"/>
                </a:cubicBezTo>
                <a:cubicBezTo>
                  <a:pt x="10867650" y="369880"/>
                  <a:pt x="10871812" y="367355"/>
                  <a:pt x="10876385" y="365895"/>
                </a:cubicBezTo>
                <a:cubicBezTo>
                  <a:pt x="10881019" y="364512"/>
                  <a:pt x="10885829" y="363812"/>
                  <a:pt x="10890665" y="363815"/>
                </a:cubicBezTo>
                <a:lnTo>
                  <a:pt x="10894376" y="363815"/>
                </a:lnTo>
                <a:cubicBezTo>
                  <a:pt x="10895910" y="363829"/>
                  <a:pt x="10897438" y="364017"/>
                  <a:pt x="10898929" y="364377"/>
                </a:cubicBezTo>
                <a:cubicBezTo>
                  <a:pt x="10899304" y="362203"/>
                  <a:pt x="10899642" y="359898"/>
                  <a:pt x="10899941" y="357462"/>
                </a:cubicBezTo>
                <a:cubicBezTo>
                  <a:pt x="10900209" y="355167"/>
                  <a:pt x="10900341" y="352858"/>
                  <a:pt x="10900335" y="350547"/>
                </a:cubicBezTo>
                <a:cubicBezTo>
                  <a:pt x="10900335" y="348692"/>
                  <a:pt x="10900054" y="346780"/>
                  <a:pt x="10900054" y="344925"/>
                </a:cubicBezTo>
                <a:cubicBezTo>
                  <a:pt x="10899901" y="343164"/>
                  <a:pt x="10899619" y="341416"/>
                  <a:pt x="10899211" y="339697"/>
                </a:cubicBezTo>
                <a:cubicBezTo>
                  <a:pt x="10897891" y="339462"/>
                  <a:pt x="10896558" y="339312"/>
                  <a:pt x="10895219" y="339247"/>
                </a:cubicBezTo>
                <a:lnTo>
                  <a:pt x="10890665" y="339247"/>
                </a:lnTo>
                <a:cubicBezTo>
                  <a:pt x="10881967" y="338886"/>
                  <a:pt x="10873380" y="341309"/>
                  <a:pt x="10866153" y="346162"/>
                </a:cubicBezTo>
                <a:cubicBezTo>
                  <a:pt x="10860010" y="350530"/>
                  <a:pt x="10854794" y="356071"/>
                  <a:pt x="10850805" y="362466"/>
                </a:cubicBezTo>
                <a:cubicBezTo>
                  <a:pt x="10850769" y="358705"/>
                  <a:pt x="10850506" y="354951"/>
                  <a:pt x="10850018" y="351222"/>
                </a:cubicBezTo>
                <a:cubicBezTo>
                  <a:pt x="10849455" y="346387"/>
                  <a:pt x="10848893" y="342789"/>
                  <a:pt x="10848331" y="339978"/>
                </a:cubicBezTo>
                <a:cubicBezTo>
                  <a:pt x="10846475" y="339601"/>
                  <a:pt x="10844597" y="339338"/>
                  <a:pt x="10842709" y="339191"/>
                </a:cubicBezTo>
                <a:cubicBezTo>
                  <a:pt x="10840685" y="338909"/>
                  <a:pt x="10838492" y="338909"/>
                  <a:pt x="10836637" y="338909"/>
                </a:cubicBezTo>
                <a:close/>
                <a:moveTo>
                  <a:pt x="10664715" y="338909"/>
                </a:moveTo>
                <a:cubicBezTo>
                  <a:pt x="10662860" y="338909"/>
                  <a:pt x="10660667" y="339022"/>
                  <a:pt x="10658081" y="339191"/>
                </a:cubicBezTo>
                <a:cubicBezTo>
                  <a:pt x="10655495" y="339359"/>
                  <a:pt x="10653190" y="339640"/>
                  <a:pt x="10651166" y="339978"/>
                </a:cubicBezTo>
                <a:lnTo>
                  <a:pt x="10651391" y="418799"/>
                </a:lnTo>
                <a:cubicBezTo>
                  <a:pt x="10650976" y="430456"/>
                  <a:pt x="10652750" y="442089"/>
                  <a:pt x="10656619" y="453093"/>
                </a:cubicBezTo>
                <a:cubicBezTo>
                  <a:pt x="10659554" y="460988"/>
                  <a:pt x="10664518" y="467969"/>
                  <a:pt x="10671012" y="473333"/>
                </a:cubicBezTo>
                <a:cubicBezTo>
                  <a:pt x="10677211" y="478156"/>
                  <a:pt x="10684481" y="481415"/>
                  <a:pt x="10692207" y="482834"/>
                </a:cubicBezTo>
                <a:cubicBezTo>
                  <a:pt x="10700637" y="484449"/>
                  <a:pt x="10709204" y="485240"/>
                  <a:pt x="10717787" y="485195"/>
                </a:cubicBezTo>
                <a:cubicBezTo>
                  <a:pt x="10727101" y="485208"/>
                  <a:pt x="10736396" y="484381"/>
                  <a:pt x="10745560" y="482721"/>
                </a:cubicBezTo>
                <a:cubicBezTo>
                  <a:pt x="10754499" y="481035"/>
                  <a:pt x="10762201" y="479292"/>
                  <a:pt x="10768667" y="477437"/>
                </a:cubicBezTo>
                <a:lnTo>
                  <a:pt x="10768667" y="339978"/>
                </a:lnTo>
                <a:cubicBezTo>
                  <a:pt x="10766643" y="339640"/>
                  <a:pt x="10764338" y="339472"/>
                  <a:pt x="10761864" y="339191"/>
                </a:cubicBezTo>
                <a:cubicBezTo>
                  <a:pt x="10759390" y="338909"/>
                  <a:pt x="10757198" y="338909"/>
                  <a:pt x="10755118" y="338909"/>
                </a:cubicBezTo>
                <a:cubicBezTo>
                  <a:pt x="10753037" y="338909"/>
                  <a:pt x="10750789" y="339022"/>
                  <a:pt x="10748315" y="339191"/>
                </a:cubicBezTo>
                <a:cubicBezTo>
                  <a:pt x="10745841" y="339359"/>
                  <a:pt x="10743592" y="339640"/>
                  <a:pt x="10741512" y="339978"/>
                </a:cubicBezTo>
                <a:lnTo>
                  <a:pt x="10741512" y="459278"/>
                </a:lnTo>
                <a:cubicBezTo>
                  <a:pt x="10733703" y="461463"/>
                  <a:pt x="10725614" y="462486"/>
                  <a:pt x="10717506" y="462314"/>
                </a:cubicBezTo>
                <a:cubicBezTo>
                  <a:pt x="10711822" y="462405"/>
                  <a:pt x="10706150" y="461744"/>
                  <a:pt x="10700640" y="460346"/>
                </a:cubicBezTo>
                <a:cubicBezTo>
                  <a:pt x="10696050" y="459159"/>
                  <a:pt x="10691859" y="456773"/>
                  <a:pt x="10688496" y="453431"/>
                </a:cubicBezTo>
                <a:cubicBezTo>
                  <a:pt x="10684891" y="449581"/>
                  <a:pt x="10682319" y="444881"/>
                  <a:pt x="10681019" y="439769"/>
                </a:cubicBezTo>
                <a:cubicBezTo>
                  <a:pt x="10679215" y="432585"/>
                  <a:pt x="10678383" y="425192"/>
                  <a:pt x="10678545" y="417787"/>
                </a:cubicBezTo>
                <a:lnTo>
                  <a:pt x="10678545" y="339978"/>
                </a:lnTo>
                <a:cubicBezTo>
                  <a:pt x="10676521" y="339640"/>
                  <a:pt x="10674216" y="339472"/>
                  <a:pt x="10671630" y="339191"/>
                </a:cubicBezTo>
                <a:cubicBezTo>
                  <a:pt x="10669044" y="338909"/>
                  <a:pt x="10666570" y="338909"/>
                  <a:pt x="10664715" y="338909"/>
                </a:cubicBezTo>
                <a:close/>
                <a:moveTo>
                  <a:pt x="10568184" y="336774"/>
                </a:moveTo>
                <a:cubicBezTo>
                  <a:pt x="10557855" y="336496"/>
                  <a:pt x="10547585" y="338413"/>
                  <a:pt x="10538050" y="342396"/>
                </a:cubicBezTo>
                <a:cubicBezTo>
                  <a:pt x="10529752" y="345993"/>
                  <a:pt x="10522345" y="351367"/>
                  <a:pt x="10516349" y="358138"/>
                </a:cubicBezTo>
                <a:cubicBezTo>
                  <a:pt x="10510429" y="365007"/>
                  <a:pt x="10505955" y="373000"/>
                  <a:pt x="10503194" y="381638"/>
                </a:cubicBezTo>
                <a:cubicBezTo>
                  <a:pt x="10500203" y="391130"/>
                  <a:pt x="10498723" y="401033"/>
                  <a:pt x="10498808" y="410985"/>
                </a:cubicBezTo>
                <a:cubicBezTo>
                  <a:pt x="10498771" y="433623"/>
                  <a:pt x="10504749" y="451632"/>
                  <a:pt x="10516743" y="465013"/>
                </a:cubicBezTo>
                <a:cubicBezTo>
                  <a:pt x="10528736" y="478393"/>
                  <a:pt x="10546540" y="485084"/>
                  <a:pt x="10570152" y="485084"/>
                </a:cubicBezTo>
                <a:cubicBezTo>
                  <a:pt x="10582882" y="485294"/>
                  <a:pt x="10595540" y="483140"/>
                  <a:pt x="10607483" y="478731"/>
                </a:cubicBezTo>
                <a:cubicBezTo>
                  <a:pt x="10607280" y="474696"/>
                  <a:pt x="10606620" y="470697"/>
                  <a:pt x="10605515" y="466812"/>
                </a:cubicBezTo>
                <a:cubicBezTo>
                  <a:pt x="10604637" y="463437"/>
                  <a:pt x="10603333" y="460188"/>
                  <a:pt x="10601636" y="457142"/>
                </a:cubicBezTo>
                <a:cubicBezTo>
                  <a:pt x="10597058" y="459024"/>
                  <a:pt x="10592289" y="460400"/>
                  <a:pt x="10587412" y="461246"/>
                </a:cubicBezTo>
                <a:cubicBezTo>
                  <a:pt x="10582332" y="462013"/>
                  <a:pt x="10577201" y="462389"/>
                  <a:pt x="10572064" y="462370"/>
                </a:cubicBezTo>
                <a:cubicBezTo>
                  <a:pt x="10559947" y="463031"/>
                  <a:pt x="10548112" y="458562"/>
                  <a:pt x="10539456" y="450058"/>
                </a:cubicBezTo>
                <a:cubicBezTo>
                  <a:pt x="10531510" y="441887"/>
                  <a:pt x="10527537" y="428938"/>
                  <a:pt x="10527537" y="411210"/>
                </a:cubicBezTo>
                <a:cubicBezTo>
                  <a:pt x="10526870" y="397952"/>
                  <a:pt x="10530563" y="384841"/>
                  <a:pt x="10538050" y="373879"/>
                </a:cubicBezTo>
                <a:cubicBezTo>
                  <a:pt x="10545650" y="364175"/>
                  <a:pt x="10557577" y="358886"/>
                  <a:pt x="10569871" y="359768"/>
                </a:cubicBezTo>
                <a:cubicBezTo>
                  <a:pt x="10580383" y="359609"/>
                  <a:pt x="10590850" y="361186"/>
                  <a:pt x="10600849" y="364434"/>
                </a:cubicBezTo>
                <a:cubicBezTo>
                  <a:pt x="10602423" y="360949"/>
                  <a:pt x="10603574" y="357287"/>
                  <a:pt x="10604278" y="353527"/>
                </a:cubicBezTo>
                <a:cubicBezTo>
                  <a:pt x="10605051" y="349942"/>
                  <a:pt x="10605465" y="346288"/>
                  <a:pt x="10605515" y="342621"/>
                </a:cubicBezTo>
                <a:cubicBezTo>
                  <a:pt x="10600057" y="340575"/>
                  <a:pt x="10594406" y="339087"/>
                  <a:pt x="10588649" y="338179"/>
                </a:cubicBezTo>
                <a:cubicBezTo>
                  <a:pt x="10581872" y="337198"/>
                  <a:pt x="10575031" y="336728"/>
                  <a:pt x="10568184" y="336774"/>
                </a:cubicBezTo>
                <a:close/>
                <a:moveTo>
                  <a:pt x="11458717" y="336717"/>
                </a:moveTo>
                <a:cubicBezTo>
                  <a:pt x="11441402" y="336717"/>
                  <a:pt x="11428284" y="340465"/>
                  <a:pt x="11419363" y="347961"/>
                </a:cubicBezTo>
                <a:cubicBezTo>
                  <a:pt x="11410457" y="355260"/>
                  <a:pt x="11405484" y="366309"/>
                  <a:pt x="11405926" y="377815"/>
                </a:cubicBezTo>
                <a:cubicBezTo>
                  <a:pt x="11405493" y="386084"/>
                  <a:pt x="11408388" y="394183"/>
                  <a:pt x="11413966" y="400303"/>
                </a:cubicBezTo>
                <a:cubicBezTo>
                  <a:pt x="11421386" y="407064"/>
                  <a:pt x="11430165" y="412163"/>
                  <a:pt x="11439715" y="415257"/>
                </a:cubicBezTo>
                <a:lnTo>
                  <a:pt x="11449385" y="418856"/>
                </a:lnTo>
                <a:cubicBezTo>
                  <a:pt x="11452870" y="419924"/>
                  <a:pt x="11456131" y="421104"/>
                  <a:pt x="11459223" y="422285"/>
                </a:cubicBezTo>
                <a:cubicBezTo>
                  <a:pt x="11462049" y="423376"/>
                  <a:pt x="11464731" y="424811"/>
                  <a:pt x="11467207" y="426558"/>
                </a:cubicBezTo>
                <a:cubicBezTo>
                  <a:pt x="11467938" y="427120"/>
                  <a:pt x="11468331" y="427907"/>
                  <a:pt x="11469006" y="428525"/>
                </a:cubicBezTo>
                <a:lnTo>
                  <a:pt x="11477046" y="403339"/>
                </a:lnTo>
                <a:cubicBezTo>
                  <a:pt x="11474689" y="402104"/>
                  <a:pt x="11472268" y="400997"/>
                  <a:pt x="11469793" y="400022"/>
                </a:cubicBezTo>
                <a:lnTo>
                  <a:pt x="11457593" y="395861"/>
                </a:lnTo>
                <a:cubicBezTo>
                  <a:pt x="11454276" y="394737"/>
                  <a:pt x="11451184" y="393669"/>
                  <a:pt x="11448317" y="392544"/>
                </a:cubicBezTo>
                <a:cubicBezTo>
                  <a:pt x="11445641" y="391510"/>
                  <a:pt x="11443095" y="390171"/>
                  <a:pt x="11440727" y="388553"/>
                </a:cubicBezTo>
                <a:cubicBezTo>
                  <a:pt x="11438611" y="387064"/>
                  <a:pt x="11436830" y="385149"/>
                  <a:pt x="11435498" y="382931"/>
                </a:cubicBezTo>
                <a:cubicBezTo>
                  <a:pt x="11434132" y="380476"/>
                  <a:pt x="11433452" y="377699"/>
                  <a:pt x="11433531" y="374891"/>
                </a:cubicBezTo>
                <a:cubicBezTo>
                  <a:pt x="11433185" y="369396"/>
                  <a:pt x="11436371" y="364290"/>
                  <a:pt x="11441458" y="362185"/>
                </a:cubicBezTo>
                <a:cubicBezTo>
                  <a:pt x="11447157" y="359680"/>
                  <a:pt x="11453336" y="358451"/>
                  <a:pt x="11459561" y="358587"/>
                </a:cubicBezTo>
                <a:cubicBezTo>
                  <a:pt x="11465657" y="358536"/>
                  <a:pt x="11471737" y="359235"/>
                  <a:pt x="11477664" y="360667"/>
                </a:cubicBezTo>
                <a:cubicBezTo>
                  <a:pt x="11482161" y="361792"/>
                  <a:pt x="11485984" y="362916"/>
                  <a:pt x="11489470" y="364041"/>
                </a:cubicBezTo>
                <a:lnTo>
                  <a:pt x="11496160" y="343070"/>
                </a:lnTo>
                <a:cubicBezTo>
                  <a:pt x="11490820" y="341309"/>
                  <a:pt x="11485374" y="339882"/>
                  <a:pt x="11479856" y="338798"/>
                </a:cubicBezTo>
                <a:cubicBezTo>
                  <a:pt x="11472893" y="337424"/>
                  <a:pt x="11465814" y="336727"/>
                  <a:pt x="11458717" y="336717"/>
                </a:cubicBezTo>
                <a:close/>
                <a:moveTo>
                  <a:pt x="10995433" y="336550"/>
                </a:moveTo>
                <a:cubicBezTo>
                  <a:pt x="10985557" y="336550"/>
                  <a:pt x="10975682" y="338499"/>
                  <a:pt x="10966395" y="342395"/>
                </a:cubicBezTo>
                <a:cubicBezTo>
                  <a:pt x="10958389" y="346025"/>
                  <a:pt x="10951300" y="351404"/>
                  <a:pt x="10945649" y="358137"/>
                </a:cubicBezTo>
                <a:cubicBezTo>
                  <a:pt x="10939977" y="365043"/>
                  <a:pt x="10935786" y="373042"/>
                  <a:pt x="10933337" y="381637"/>
                </a:cubicBezTo>
                <a:cubicBezTo>
                  <a:pt x="10927941" y="400811"/>
                  <a:pt x="10927941" y="421102"/>
                  <a:pt x="10933337" y="440275"/>
                </a:cubicBezTo>
                <a:cubicBezTo>
                  <a:pt x="10935762" y="448959"/>
                  <a:pt x="10939975" y="457040"/>
                  <a:pt x="10945706" y="464000"/>
                </a:cubicBezTo>
                <a:cubicBezTo>
                  <a:pt x="10951332" y="470731"/>
                  <a:pt x="10958429" y="476079"/>
                  <a:pt x="10966451" y="479630"/>
                </a:cubicBezTo>
                <a:cubicBezTo>
                  <a:pt x="10975606" y="483560"/>
                  <a:pt x="10985500" y="485477"/>
                  <a:pt x="10995461" y="485252"/>
                </a:cubicBezTo>
                <a:cubicBezTo>
                  <a:pt x="11005437" y="485398"/>
                  <a:pt x="11015329" y="483404"/>
                  <a:pt x="11024470" y="479405"/>
                </a:cubicBezTo>
                <a:cubicBezTo>
                  <a:pt x="11032475" y="475824"/>
                  <a:pt x="11039567" y="470482"/>
                  <a:pt x="11045216" y="463775"/>
                </a:cubicBezTo>
                <a:cubicBezTo>
                  <a:pt x="11050877" y="456862"/>
                  <a:pt x="11055067" y="448865"/>
                  <a:pt x="11057528" y="440275"/>
                </a:cubicBezTo>
                <a:cubicBezTo>
                  <a:pt x="11062850" y="421091"/>
                  <a:pt x="11062850" y="400821"/>
                  <a:pt x="11057528" y="381637"/>
                </a:cubicBezTo>
                <a:cubicBezTo>
                  <a:pt x="11055055" y="373052"/>
                  <a:pt x="11050867" y="365057"/>
                  <a:pt x="11045216" y="358137"/>
                </a:cubicBezTo>
                <a:cubicBezTo>
                  <a:pt x="11039541" y="351430"/>
                  <a:pt x="11032458" y="346055"/>
                  <a:pt x="11024470" y="342395"/>
                </a:cubicBezTo>
                <a:cubicBezTo>
                  <a:pt x="11015183" y="338499"/>
                  <a:pt x="11005308" y="336550"/>
                  <a:pt x="10995433" y="336550"/>
                </a:cubicBezTo>
                <a:close/>
                <a:moveTo>
                  <a:pt x="10247109" y="336492"/>
                </a:moveTo>
                <a:cubicBezTo>
                  <a:pt x="10243623" y="336492"/>
                  <a:pt x="10240475" y="336774"/>
                  <a:pt x="10237383" y="337055"/>
                </a:cubicBezTo>
                <a:lnTo>
                  <a:pt x="10229287" y="362298"/>
                </a:lnTo>
                <a:lnTo>
                  <a:pt x="10229793" y="362129"/>
                </a:lnTo>
                <a:cubicBezTo>
                  <a:pt x="10235514" y="359627"/>
                  <a:pt x="10241710" y="358400"/>
                  <a:pt x="10247952" y="358531"/>
                </a:cubicBezTo>
                <a:cubicBezTo>
                  <a:pt x="10254049" y="358483"/>
                  <a:pt x="10260128" y="359182"/>
                  <a:pt x="10266055" y="360611"/>
                </a:cubicBezTo>
                <a:cubicBezTo>
                  <a:pt x="10271677" y="362017"/>
                  <a:pt x="10276512" y="363422"/>
                  <a:pt x="10280560" y="364884"/>
                </a:cubicBezTo>
                <a:cubicBezTo>
                  <a:pt x="10282078" y="361576"/>
                  <a:pt x="10283338" y="358155"/>
                  <a:pt x="10284327" y="354652"/>
                </a:cubicBezTo>
                <a:cubicBezTo>
                  <a:pt x="10285342" y="350973"/>
                  <a:pt x="10286019" y="347209"/>
                  <a:pt x="10286351" y="343408"/>
                </a:cubicBezTo>
                <a:cubicBezTo>
                  <a:pt x="10280433" y="341388"/>
                  <a:pt x="10274385" y="339773"/>
                  <a:pt x="10268248" y="338573"/>
                </a:cubicBezTo>
                <a:cubicBezTo>
                  <a:pt x="10261285" y="337199"/>
                  <a:pt x="10254206" y="336502"/>
                  <a:pt x="10247109" y="336492"/>
                </a:cubicBezTo>
                <a:close/>
                <a:moveTo>
                  <a:pt x="11158725" y="336436"/>
                </a:moveTo>
                <a:cubicBezTo>
                  <a:pt x="11141465" y="336436"/>
                  <a:pt x="11128366" y="340316"/>
                  <a:pt x="11119370" y="347681"/>
                </a:cubicBezTo>
                <a:cubicBezTo>
                  <a:pt x="11110478" y="354985"/>
                  <a:pt x="11105525" y="366036"/>
                  <a:pt x="11105990" y="377534"/>
                </a:cubicBezTo>
                <a:cubicBezTo>
                  <a:pt x="11105556" y="385803"/>
                  <a:pt x="11108452" y="393902"/>
                  <a:pt x="11114029" y="400022"/>
                </a:cubicBezTo>
                <a:cubicBezTo>
                  <a:pt x="11121428" y="406783"/>
                  <a:pt x="11130189" y="411882"/>
                  <a:pt x="11139722" y="414977"/>
                </a:cubicBezTo>
                <a:lnTo>
                  <a:pt x="11149392" y="418575"/>
                </a:lnTo>
                <a:cubicBezTo>
                  <a:pt x="11152934" y="419643"/>
                  <a:pt x="11156195" y="420823"/>
                  <a:pt x="11159230" y="422004"/>
                </a:cubicBezTo>
                <a:cubicBezTo>
                  <a:pt x="11162074" y="423096"/>
                  <a:pt x="11164774" y="424531"/>
                  <a:pt x="11167270" y="426277"/>
                </a:cubicBezTo>
                <a:cubicBezTo>
                  <a:pt x="11169571" y="427882"/>
                  <a:pt x="11171490" y="429974"/>
                  <a:pt x="11172892" y="432405"/>
                </a:cubicBezTo>
                <a:cubicBezTo>
                  <a:pt x="11174393" y="435198"/>
                  <a:pt x="11175112" y="438345"/>
                  <a:pt x="11174972" y="441513"/>
                </a:cubicBezTo>
                <a:cubicBezTo>
                  <a:pt x="11174998" y="444706"/>
                  <a:pt x="11174078" y="447836"/>
                  <a:pt x="11172330" y="450508"/>
                </a:cubicBezTo>
                <a:cubicBezTo>
                  <a:pt x="11170521" y="453214"/>
                  <a:pt x="11168165" y="455512"/>
                  <a:pt x="11165415" y="457254"/>
                </a:cubicBezTo>
                <a:cubicBezTo>
                  <a:pt x="11162324" y="459208"/>
                  <a:pt x="11158920" y="460615"/>
                  <a:pt x="11155351" y="461415"/>
                </a:cubicBezTo>
                <a:cubicBezTo>
                  <a:pt x="11151352" y="462348"/>
                  <a:pt x="11147259" y="462820"/>
                  <a:pt x="11143152" y="462820"/>
                </a:cubicBezTo>
                <a:cubicBezTo>
                  <a:pt x="11137167" y="462803"/>
                  <a:pt x="11131197" y="462201"/>
                  <a:pt x="11125330" y="461021"/>
                </a:cubicBezTo>
                <a:cubicBezTo>
                  <a:pt x="11119704" y="459912"/>
                  <a:pt x="11114190" y="458294"/>
                  <a:pt x="11108857" y="456186"/>
                </a:cubicBezTo>
                <a:cubicBezTo>
                  <a:pt x="11107620" y="459841"/>
                  <a:pt x="11106046" y="463607"/>
                  <a:pt x="11104640" y="467374"/>
                </a:cubicBezTo>
                <a:cubicBezTo>
                  <a:pt x="11103480" y="471034"/>
                  <a:pt x="11102689" y="474801"/>
                  <a:pt x="11102279" y="478618"/>
                </a:cubicBezTo>
                <a:cubicBezTo>
                  <a:pt x="11108321" y="480732"/>
                  <a:pt x="11114526" y="482349"/>
                  <a:pt x="11120832" y="483453"/>
                </a:cubicBezTo>
                <a:cubicBezTo>
                  <a:pt x="11128504" y="484728"/>
                  <a:pt x="11136273" y="485330"/>
                  <a:pt x="11144051" y="485252"/>
                </a:cubicBezTo>
                <a:cubicBezTo>
                  <a:pt x="11152098" y="485330"/>
                  <a:pt x="11160113" y="484212"/>
                  <a:pt x="11167832" y="481935"/>
                </a:cubicBezTo>
                <a:cubicBezTo>
                  <a:pt x="11174486" y="480018"/>
                  <a:pt x="11180721" y="476872"/>
                  <a:pt x="11186216" y="472659"/>
                </a:cubicBezTo>
                <a:cubicBezTo>
                  <a:pt x="11191199" y="468840"/>
                  <a:pt x="11195222" y="463912"/>
                  <a:pt x="11197966" y="458266"/>
                </a:cubicBezTo>
                <a:cubicBezTo>
                  <a:pt x="11202929" y="447491"/>
                  <a:pt x="11203474" y="435200"/>
                  <a:pt x="11199484" y="424028"/>
                </a:cubicBezTo>
                <a:cubicBezTo>
                  <a:pt x="11197928" y="419868"/>
                  <a:pt x="11195580" y="416050"/>
                  <a:pt x="11192569" y="412784"/>
                </a:cubicBezTo>
                <a:cubicBezTo>
                  <a:pt x="11189614" y="409677"/>
                  <a:pt x="11186154" y="407092"/>
                  <a:pt x="11182337" y="405138"/>
                </a:cubicBezTo>
                <a:cubicBezTo>
                  <a:pt x="11178283" y="403068"/>
                  <a:pt x="11174072" y="401320"/>
                  <a:pt x="11169744" y="399909"/>
                </a:cubicBezTo>
                <a:lnTo>
                  <a:pt x="11157600" y="395749"/>
                </a:lnTo>
                <a:cubicBezTo>
                  <a:pt x="11154283" y="394625"/>
                  <a:pt x="11151191" y="393557"/>
                  <a:pt x="11148324" y="392432"/>
                </a:cubicBezTo>
                <a:cubicBezTo>
                  <a:pt x="11145638" y="391422"/>
                  <a:pt x="11143089" y="390081"/>
                  <a:pt x="11140735" y="388440"/>
                </a:cubicBezTo>
                <a:cubicBezTo>
                  <a:pt x="11138590" y="386968"/>
                  <a:pt x="11136787" y="385050"/>
                  <a:pt x="11135450" y="382818"/>
                </a:cubicBezTo>
                <a:cubicBezTo>
                  <a:pt x="11134103" y="380359"/>
                  <a:pt x="11133443" y="377582"/>
                  <a:pt x="11133538" y="374779"/>
                </a:cubicBezTo>
                <a:cubicBezTo>
                  <a:pt x="11133183" y="369298"/>
                  <a:pt x="11136344" y="364196"/>
                  <a:pt x="11141409" y="362073"/>
                </a:cubicBezTo>
                <a:cubicBezTo>
                  <a:pt x="11147112" y="359578"/>
                  <a:pt x="11153288" y="358350"/>
                  <a:pt x="11159512" y="358475"/>
                </a:cubicBezTo>
                <a:cubicBezTo>
                  <a:pt x="11165627" y="358427"/>
                  <a:pt x="11171725" y="359126"/>
                  <a:pt x="11177671" y="360555"/>
                </a:cubicBezTo>
                <a:cubicBezTo>
                  <a:pt x="11183293" y="361961"/>
                  <a:pt x="11188128" y="363366"/>
                  <a:pt x="11192176" y="364828"/>
                </a:cubicBezTo>
                <a:cubicBezTo>
                  <a:pt x="11193700" y="361528"/>
                  <a:pt x="11194941" y="358105"/>
                  <a:pt x="11195887" y="354596"/>
                </a:cubicBezTo>
                <a:cubicBezTo>
                  <a:pt x="11196919" y="350918"/>
                  <a:pt x="11197616" y="347155"/>
                  <a:pt x="11197967" y="343352"/>
                </a:cubicBezTo>
                <a:cubicBezTo>
                  <a:pt x="11192047" y="341339"/>
                  <a:pt x="11185999" y="339724"/>
                  <a:pt x="11179864" y="338517"/>
                </a:cubicBezTo>
                <a:cubicBezTo>
                  <a:pt x="11172901" y="337143"/>
                  <a:pt x="11165822" y="336446"/>
                  <a:pt x="11158725" y="336436"/>
                </a:cubicBezTo>
                <a:close/>
                <a:moveTo>
                  <a:pt x="10397667" y="336268"/>
                </a:moveTo>
                <a:cubicBezTo>
                  <a:pt x="10387436" y="336040"/>
                  <a:pt x="10377280" y="338075"/>
                  <a:pt x="10367927" y="342227"/>
                </a:cubicBezTo>
                <a:cubicBezTo>
                  <a:pt x="10359861" y="345963"/>
                  <a:pt x="10352734" y="351457"/>
                  <a:pt x="10347069" y="358306"/>
                </a:cubicBezTo>
                <a:cubicBezTo>
                  <a:pt x="10341351" y="365288"/>
                  <a:pt x="10337158" y="373388"/>
                  <a:pt x="10334757" y="382087"/>
                </a:cubicBezTo>
                <a:cubicBezTo>
                  <a:pt x="10331998" y="391642"/>
                  <a:pt x="10330634" y="401546"/>
                  <a:pt x="10330709" y="411491"/>
                </a:cubicBezTo>
                <a:cubicBezTo>
                  <a:pt x="10330610" y="421464"/>
                  <a:pt x="10332013" y="431395"/>
                  <a:pt x="10334869" y="440950"/>
                </a:cubicBezTo>
                <a:cubicBezTo>
                  <a:pt x="10340044" y="458773"/>
                  <a:pt x="10353410" y="473058"/>
                  <a:pt x="10370850" y="479405"/>
                </a:cubicBezTo>
                <a:cubicBezTo>
                  <a:pt x="10381463" y="483316"/>
                  <a:pt x="10392711" y="485223"/>
                  <a:pt x="10404020" y="485027"/>
                </a:cubicBezTo>
                <a:cubicBezTo>
                  <a:pt x="10412137" y="485097"/>
                  <a:pt x="10420245" y="484457"/>
                  <a:pt x="10428251" y="483116"/>
                </a:cubicBezTo>
                <a:cubicBezTo>
                  <a:pt x="10435113" y="482000"/>
                  <a:pt x="10441827" y="480114"/>
                  <a:pt x="10448266" y="477494"/>
                </a:cubicBezTo>
                <a:cubicBezTo>
                  <a:pt x="10448070" y="473536"/>
                  <a:pt x="10447525" y="469604"/>
                  <a:pt x="10446635" y="465744"/>
                </a:cubicBezTo>
                <a:cubicBezTo>
                  <a:pt x="10445854" y="462254"/>
                  <a:pt x="10444645" y="458874"/>
                  <a:pt x="10443037" y="455680"/>
                </a:cubicBezTo>
                <a:cubicBezTo>
                  <a:pt x="10431119" y="460310"/>
                  <a:pt x="10418436" y="462655"/>
                  <a:pt x="10405650" y="462595"/>
                </a:cubicBezTo>
                <a:cubicBezTo>
                  <a:pt x="10390864" y="462595"/>
                  <a:pt x="10379564" y="458997"/>
                  <a:pt x="10371918" y="451801"/>
                </a:cubicBezTo>
                <a:cubicBezTo>
                  <a:pt x="10364272" y="444605"/>
                  <a:pt x="10360224" y="433248"/>
                  <a:pt x="10359887" y="417787"/>
                </a:cubicBezTo>
                <a:lnTo>
                  <a:pt x="10456474" y="417338"/>
                </a:lnTo>
                <a:cubicBezTo>
                  <a:pt x="10456642" y="415314"/>
                  <a:pt x="10457036" y="412503"/>
                  <a:pt x="10457036" y="409973"/>
                </a:cubicBezTo>
                <a:cubicBezTo>
                  <a:pt x="10457036" y="407443"/>
                  <a:pt x="10457036" y="404407"/>
                  <a:pt x="10457036" y="401821"/>
                </a:cubicBezTo>
                <a:cubicBezTo>
                  <a:pt x="10457115" y="392958"/>
                  <a:pt x="10455806" y="384137"/>
                  <a:pt x="10453157" y="375678"/>
                </a:cubicBezTo>
                <a:cubicBezTo>
                  <a:pt x="10450813" y="368107"/>
                  <a:pt x="10446991" y="361075"/>
                  <a:pt x="10441913" y="354989"/>
                </a:cubicBezTo>
                <a:cubicBezTo>
                  <a:pt x="10436839" y="349079"/>
                  <a:pt x="10430498" y="344390"/>
                  <a:pt x="10423360" y="341271"/>
                </a:cubicBezTo>
                <a:cubicBezTo>
                  <a:pt x="10415251" y="337789"/>
                  <a:pt x="10406491" y="336083"/>
                  <a:pt x="10397667" y="33626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4504AF-E94E-DA48-31BC-95619F95D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784225"/>
            <a:ext cx="10800000" cy="881063"/>
          </a:xfrm>
        </p:spPr>
        <p:txBody>
          <a:bodyPr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6B8872-9806-99FE-5CC9-B342E125E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B6492AE-536B-9440-B309-9DB6441DA25B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9857B-6277-CE97-5166-A5DC9AFF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0BD8B3-7E52-67C0-497B-DE5B36B3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E443A44-926A-78B0-9D34-1FC133D01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566479" cy="233014"/>
          </a:xfrm>
          <a:solidFill>
            <a:schemeClr val="bg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58270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FE3CF63-5DD6-9554-35A0-79DF19DE1B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720000" anchor="t"/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1A807E-3305-2DA3-0F13-D448E1C654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4195" y="1326413"/>
            <a:ext cx="8212480" cy="5531587"/>
          </a:xfrm>
          <a:custGeom>
            <a:avLst/>
            <a:gdLst>
              <a:gd name="connsiteX0" fmla="*/ 1754232 w 8212480"/>
              <a:gd name="connsiteY0" fmla="*/ 0 h 5531587"/>
              <a:gd name="connsiteX1" fmla="*/ 8212480 w 8212480"/>
              <a:gd name="connsiteY1" fmla="*/ 0 h 5531587"/>
              <a:gd name="connsiteX2" fmla="*/ 6458248 w 8212480"/>
              <a:gd name="connsiteY2" fmla="*/ 5531587 h 5531587"/>
              <a:gd name="connsiteX3" fmla="*/ 0 w 8212480"/>
              <a:gd name="connsiteY3" fmla="*/ 5531587 h 553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2480" h="5531587">
                <a:moveTo>
                  <a:pt x="1754232" y="0"/>
                </a:moveTo>
                <a:lnTo>
                  <a:pt x="8212480" y="0"/>
                </a:lnTo>
                <a:lnTo>
                  <a:pt x="6458248" y="5531587"/>
                </a:lnTo>
                <a:lnTo>
                  <a:pt x="0" y="5531587"/>
                </a:lnTo>
                <a:close/>
              </a:path>
            </a:pathLst>
          </a:custGeom>
          <a:solidFill>
            <a:schemeClr val="bg1"/>
          </a:solidFill>
          <a:effectLst>
            <a:outerShdw blurRad="190500" sx="102000" sy="102000" algn="ctr" rotWithShape="0">
              <a:srgbClr val="000000">
                <a:alpha val="22000"/>
              </a:srgbClr>
            </a:outerShdw>
          </a:effectLst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6BC5C-B667-C416-0C5E-861D4E353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69704" y="2126654"/>
            <a:ext cx="5358266" cy="881063"/>
          </a:xfrm>
        </p:spPr>
        <p:txBody>
          <a:bodyPr lIns="0" tIns="0" rIns="0" bIns="0">
            <a:normAutofit/>
          </a:bodyPr>
          <a:lstStyle>
            <a:lvl1pPr>
              <a:defRPr sz="7000"/>
            </a:lvl1pPr>
          </a:lstStyle>
          <a:p>
            <a:r>
              <a:rPr lang="en-US" err="1"/>
              <a:t>Danke</a:t>
            </a:r>
            <a:r>
              <a:rPr lang="en-US"/>
              <a:t>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E0F5B-BAC3-D147-EBEF-C8BEF53CB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8715AA9-E433-6A4C-889C-ED7310D80879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DFD73-A9F9-BFAF-68DA-87D1981AF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BF11D2-AEA0-492F-A86E-2848934E1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63CB3A-E4DE-405D-7CAF-B3C511C2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69152" y="3407579"/>
            <a:ext cx="3415718" cy="621496"/>
          </a:xfrm>
        </p:spPr>
        <p:txBody>
          <a:bodyPr/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 err="1"/>
              <a:t>Securosys</a:t>
            </a:r>
            <a:r>
              <a:rPr lang="en-US"/>
              <a:t> SA</a:t>
            </a:r>
          </a:p>
          <a:p>
            <a:pPr lvl="0"/>
            <a:r>
              <a:rPr lang="en-US" err="1"/>
              <a:t>Förrlibuckstrasse</a:t>
            </a:r>
            <a:r>
              <a:rPr lang="en-US"/>
              <a:t> 70</a:t>
            </a:r>
          </a:p>
          <a:p>
            <a:pPr lvl="0"/>
            <a:r>
              <a:rPr lang="en-US"/>
              <a:t>8005 Zürich, Schweiz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28DFBDA-9CCE-FBB9-98FB-710A641404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30239" y="6193715"/>
            <a:ext cx="2513168" cy="41336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8831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FE3CF63-5DD6-9554-35A0-79DF19DE1B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b"/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1A807E-3305-2DA3-0F13-D448E1C654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5" y="-16016"/>
            <a:ext cx="8212480" cy="5531587"/>
          </a:xfrm>
          <a:custGeom>
            <a:avLst/>
            <a:gdLst>
              <a:gd name="connsiteX0" fmla="*/ 1754232 w 8212480"/>
              <a:gd name="connsiteY0" fmla="*/ 0 h 5531587"/>
              <a:gd name="connsiteX1" fmla="*/ 8212480 w 8212480"/>
              <a:gd name="connsiteY1" fmla="*/ 0 h 5531587"/>
              <a:gd name="connsiteX2" fmla="*/ 6458248 w 8212480"/>
              <a:gd name="connsiteY2" fmla="*/ 5531587 h 5531587"/>
              <a:gd name="connsiteX3" fmla="*/ 0 w 8212480"/>
              <a:gd name="connsiteY3" fmla="*/ 5531587 h 553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2480" h="5531587">
                <a:moveTo>
                  <a:pt x="1754232" y="0"/>
                </a:moveTo>
                <a:lnTo>
                  <a:pt x="8212480" y="0"/>
                </a:lnTo>
                <a:lnTo>
                  <a:pt x="6458248" y="5531587"/>
                </a:lnTo>
                <a:lnTo>
                  <a:pt x="0" y="5531587"/>
                </a:lnTo>
                <a:close/>
              </a:path>
            </a:pathLst>
          </a:custGeom>
          <a:solidFill>
            <a:schemeClr val="bg1"/>
          </a:solidFill>
          <a:effectLst>
            <a:outerShdw blurRad="190500" sx="102000" sy="102000" algn="ctr" rotWithShape="0">
              <a:srgbClr val="000000">
                <a:alpha val="22000"/>
              </a:srgbClr>
            </a:outerShdw>
          </a:effectLst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21177E6B-6C93-40B3-7A7D-72D21E34C0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80834" y="784225"/>
            <a:ext cx="5358266" cy="881063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7000" b="1"/>
            </a:lvl1pPr>
          </a:lstStyle>
          <a:p>
            <a:pPr lvl="0"/>
            <a:r>
              <a:rPr lang="en-US" err="1"/>
              <a:t>Titlefoli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E0F5B-BAC3-D147-EBEF-C8BEF53CB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FB42083-F6DF-7E4C-AEA7-67D30C05E467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DFD73-A9F9-BFAF-68DA-87D1981AF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BF11D2-AEA0-492F-A86E-2848934E1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0F0513-31A4-6162-56A5-8999BABE4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0834" y="332135"/>
            <a:ext cx="566479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9F410E-BA13-BD87-479C-F7A10B574A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80834" y="563715"/>
            <a:ext cx="74524" cy="73959"/>
          </a:xfrm>
          <a:custGeom>
            <a:avLst/>
            <a:gdLst>
              <a:gd name="connsiteX0" fmla="*/ 0 w 74524"/>
              <a:gd name="connsiteY0" fmla="*/ 0 h 73959"/>
              <a:gd name="connsiteX1" fmla="*/ 74524 w 74524"/>
              <a:gd name="connsiteY1" fmla="*/ 0 h 73959"/>
              <a:gd name="connsiteX2" fmla="*/ 152 w 74524"/>
              <a:gd name="connsiteY2" fmla="*/ 73959 h 73959"/>
              <a:gd name="connsiteX3" fmla="*/ 0 w 74524"/>
              <a:gd name="connsiteY3" fmla="*/ 73959 h 7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24" h="73959">
                <a:moveTo>
                  <a:pt x="0" y="0"/>
                </a:moveTo>
                <a:lnTo>
                  <a:pt x="74524" y="0"/>
                </a:lnTo>
                <a:lnTo>
                  <a:pt x="152" y="73959"/>
                </a:lnTo>
                <a:lnTo>
                  <a:pt x="0" y="7395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263CB3A-E4DE-405D-7CAF-B3C511C2FD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0282" y="2065150"/>
            <a:ext cx="3415718" cy="39558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28DFBDA-9CCE-FBB9-98FB-710A641404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1372" y="4851286"/>
            <a:ext cx="2513168" cy="41336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13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A7A405B-3E74-8B55-136C-3ED0CD608D7B}"/>
              </a:ext>
            </a:extLst>
          </p:cNvPr>
          <p:cNvSpPr/>
          <p:nvPr userDrawn="1"/>
        </p:nvSpPr>
        <p:spPr>
          <a:xfrm>
            <a:off x="0" y="1952625"/>
            <a:ext cx="12192000" cy="4905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6F7F5F-D353-423D-3452-34EABE6C2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325" y="784225"/>
            <a:ext cx="6924675" cy="881063"/>
          </a:xfrm>
        </p:spPr>
        <p:txBody>
          <a:bodyPr/>
          <a:lstStyle>
            <a:lvl1pPr>
              <a:defRPr sz="5500"/>
            </a:lvl1pPr>
          </a:lstStyle>
          <a:p>
            <a:r>
              <a:rPr lang="en-US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A1FF5E-CAE9-695E-9702-51C394478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B4F69-28A2-364D-BAAF-41136C87CE8C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9177C2-12A7-7B8C-2284-CD367705C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5BB874-B574-11BE-A519-E2BE73EA8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CF136E9-B7BB-591D-1662-EA362CA6A0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4E7A281D-AFFB-22B0-8FD6-157753D5CBD7}"/>
              </a:ext>
            </a:extLst>
          </p:cNvPr>
          <p:cNvSpPr/>
          <p:nvPr userDrawn="1"/>
        </p:nvSpPr>
        <p:spPr>
          <a:xfrm>
            <a:off x="1509196" y="1449388"/>
            <a:ext cx="1553608" cy="1046446"/>
          </a:xfrm>
          <a:prstGeom prst="parallelogram">
            <a:avLst>
              <a:gd name="adj" fmla="val 31713"/>
            </a:avLst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E1C0F66-9746-F7C4-1DBC-94E0C47263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50357" y="1636968"/>
            <a:ext cx="671286" cy="671286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934EAF8-8DE8-B986-65C7-A2F93B0F45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325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14065436-7510-DD69-35F1-5DD65A38F47D}"/>
              </a:ext>
            </a:extLst>
          </p:cNvPr>
          <p:cNvSpPr/>
          <p:nvPr userDrawn="1"/>
        </p:nvSpPr>
        <p:spPr>
          <a:xfrm flipV="1">
            <a:off x="4571325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FB9FF1D-508C-C1B4-8BAE-477342CA07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325" y="2543175"/>
            <a:ext cx="5829301" cy="3549912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</a:lstStyle>
          <a:p>
            <a:pPr lvl="0"/>
            <a:r>
              <a:rPr lang="en-US" err="1"/>
              <a:t>Kapiteltitle</a:t>
            </a:r>
            <a:r>
              <a:rPr lang="en-US"/>
              <a:t> 1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3A3C80F-66AA-D87F-ABFD-3E0350F25B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72750" y="2543175"/>
            <a:ext cx="923250" cy="3549912"/>
          </a:xfrm>
        </p:spPr>
        <p:txBody>
          <a:bodyPr/>
          <a:lstStyle>
            <a:lvl1pPr algn="r">
              <a:spcBef>
                <a:spcPts val="1200"/>
              </a:spcBef>
              <a:defRPr sz="1800"/>
            </a:lvl1pPr>
          </a:lstStyle>
          <a:p>
            <a:pPr lvl="0"/>
            <a:r>
              <a:rPr lang="en-US" err="1"/>
              <a:t>Sei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671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10800674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489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12B99-E69D-ED40-BBC2-DA066B594F43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B0471997-A045-0DB9-0FAA-417668D4CA5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82661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1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 userDrawn="1">
          <p15:clr>
            <a:srgbClr val="FBAE40"/>
          </p15:clr>
        </p15:guide>
        <p15:guide id="2" pos="40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A53E26-B7C2-F848-BAF3-5789C9832316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847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6CE77C9-9D84-C2DF-EB9B-8BC3E82404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3028951"/>
          </a:xfrm>
          <a:solidFill>
            <a:schemeClr val="bg2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5724EA-E9D9-068A-5155-2B249FD7A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818BC-45AC-EE4C-849F-74202D3B67E8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CE1828-A7D6-1BC2-F68E-9DB9B29C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8AA3B9-BB87-DF91-9380-4E167397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84FCF35-A2C5-103E-3D1A-63A66BCE7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A9551A2-38E6-879E-1C5B-F3AD886A09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9196" y="2525713"/>
            <a:ext cx="1553607" cy="1046446"/>
          </a:xfrm>
          <a:custGeom>
            <a:avLst/>
            <a:gdLst>
              <a:gd name="connsiteX0" fmla="*/ 331859 w 1553607"/>
              <a:gd name="connsiteY0" fmla="*/ 0 h 1046446"/>
              <a:gd name="connsiteX1" fmla="*/ 1553607 w 1553607"/>
              <a:gd name="connsiteY1" fmla="*/ 0 h 1046446"/>
              <a:gd name="connsiteX2" fmla="*/ 1221748 w 1553607"/>
              <a:gd name="connsiteY2" fmla="*/ 1046446 h 1046446"/>
              <a:gd name="connsiteX3" fmla="*/ 0 w 1553607"/>
              <a:gd name="connsiteY3" fmla="*/ 1046446 h 1046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3607" h="1046446">
                <a:moveTo>
                  <a:pt x="331859" y="0"/>
                </a:moveTo>
                <a:lnTo>
                  <a:pt x="1553607" y="0"/>
                </a:lnTo>
                <a:lnTo>
                  <a:pt x="1221748" y="1046446"/>
                </a:lnTo>
                <a:lnTo>
                  <a:pt x="0" y="104644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0F57FF-F352-3F69-0938-36087EF41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5647" y="3738847"/>
            <a:ext cx="8201025" cy="815694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3C720DA-20C4-C271-9318-64CFEDC1AD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95648" y="4721228"/>
            <a:ext cx="8201025" cy="296857"/>
          </a:xfrm>
        </p:spPr>
        <p:txBody>
          <a:bodyPr/>
          <a:lstStyle>
            <a:lvl1pPr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90985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CDA218-A603-6A5B-6F0D-30D52AD693D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81750" y="0"/>
            <a:ext cx="5810250" cy="6858000"/>
          </a:xfrm>
          <a:solidFill>
            <a:schemeClr val="bg2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784225"/>
            <a:ext cx="5114250" cy="449263"/>
          </a:xfrm>
        </p:spPr>
        <p:txBody>
          <a:bodyPr/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72739-A005-004A-B5C6-90AC899986C4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5325" y="1665290"/>
            <a:ext cx="5113338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69532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21A34BF-1A10-D686-0B51-E3C6E91B6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8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286522B-322D-27B3-98F7-ED6EDDDA0715}"/>
              </a:ext>
            </a:extLst>
          </p:cNvPr>
          <p:cNvSpPr/>
          <p:nvPr userDrawn="1"/>
        </p:nvSpPr>
        <p:spPr>
          <a:xfrm>
            <a:off x="0" y="0"/>
            <a:ext cx="51816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104804-B496-7042-BE2A-F354629688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0" y="784225"/>
            <a:ext cx="5114250" cy="449263"/>
          </a:xfrm>
        </p:spPr>
        <p:txBody>
          <a:bodyPr/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28CFCB-9563-8DD2-13FE-EF2A911F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C5010-1916-1744-896F-380D3FBDB238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A5DED-9F21-7462-237C-2FAE0B57F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16386B-0F04-9EF5-6D13-ECFD720DF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‹#›</a:t>
            </a:fld>
            <a:endParaRPr lang="de-CH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189A75-B578-0FC7-C28F-E62D32C9F7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10250" y="1665290"/>
            <a:ext cx="5686424" cy="442779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84285-E3DE-925D-449A-415AB4FBD6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0957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EF97110-44CF-AB2A-E753-E8F4C95CA63A}"/>
              </a:ext>
            </a:extLst>
          </p:cNvPr>
          <p:cNvSpPr/>
          <p:nvPr/>
        </p:nvSpPr>
        <p:spPr>
          <a:xfrm flipV="1">
            <a:off x="5809576" y="563713"/>
            <a:ext cx="74524" cy="74110"/>
          </a:xfrm>
          <a:prstGeom prst="rtTriangle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21A34BF-1A10-D686-0B51-E3C6E91B6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73E5B8F7-5EC6-6BE5-5711-62EACAE01B8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95325" y="1233488"/>
            <a:ext cx="3790951" cy="4859599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3610245-1900-BDE3-8041-824EB83FFF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552447"/>
            <a:ext cx="3790950" cy="247650"/>
          </a:xfrm>
        </p:spPr>
        <p:txBody>
          <a:bodyPr/>
          <a:lstStyle>
            <a:lvl1pPr algn="ctr">
              <a:defRPr sz="1800" b="1"/>
            </a:lvl1pPr>
          </a:lstStyle>
          <a:p>
            <a:pPr lvl="0"/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922294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ED21D9-863F-EA79-5C27-EABDB9F3F80B}"/>
              </a:ext>
            </a:extLst>
          </p:cNvPr>
          <p:cNvSpPr/>
          <p:nvPr userDrawn="1"/>
        </p:nvSpPr>
        <p:spPr>
          <a:xfrm>
            <a:off x="0" y="0"/>
            <a:ext cx="12192000" cy="295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 algn="l"/>
            <a:endParaRPr lang="de-CH" err="1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6B3B06C4-869D-C82D-978F-FA42FC58A7C0}"/>
              </a:ext>
            </a:extLst>
          </p:cNvPr>
          <p:cNvSpPr/>
          <p:nvPr userDrawn="1"/>
        </p:nvSpPr>
        <p:spPr>
          <a:xfrm>
            <a:off x="1509196" y="2525713"/>
            <a:ext cx="1553608" cy="1046446"/>
          </a:xfrm>
          <a:prstGeom prst="parallelogram">
            <a:avLst>
              <a:gd name="adj" fmla="val 31713"/>
            </a:avLst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2B38E17-BBE7-F644-0E22-770F2DD57F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3028951"/>
          </a:xfrm>
          <a:custGeom>
            <a:avLst/>
            <a:gdLst>
              <a:gd name="connsiteX0" fmla="*/ 695326 w 12192000"/>
              <a:gd name="connsiteY0" fmla="*/ 563715 h 3028951"/>
              <a:gd name="connsiteX1" fmla="*/ 695326 w 12192000"/>
              <a:gd name="connsiteY1" fmla="*/ 637674 h 3028951"/>
              <a:gd name="connsiteX2" fmla="*/ 695478 w 12192000"/>
              <a:gd name="connsiteY2" fmla="*/ 637674 h 3028951"/>
              <a:gd name="connsiteX3" fmla="*/ 769850 w 12192000"/>
              <a:gd name="connsiteY3" fmla="*/ 563715 h 3028951"/>
              <a:gd name="connsiteX4" fmla="*/ 0 w 12192000"/>
              <a:gd name="connsiteY4" fmla="*/ 0 h 3028951"/>
              <a:gd name="connsiteX5" fmla="*/ 12192000 w 12192000"/>
              <a:gd name="connsiteY5" fmla="*/ 0 h 3028951"/>
              <a:gd name="connsiteX6" fmla="*/ 12192000 w 12192000"/>
              <a:gd name="connsiteY6" fmla="*/ 3028951 h 3028951"/>
              <a:gd name="connsiteX7" fmla="*/ 2903213 w 12192000"/>
              <a:gd name="connsiteY7" fmla="*/ 3028951 h 3028951"/>
              <a:gd name="connsiteX8" fmla="*/ 3062804 w 12192000"/>
              <a:gd name="connsiteY8" fmla="*/ 2525713 h 3028951"/>
              <a:gd name="connsiteX9" fmla="*/ 1841055 w 12192000"/>
              <a:gd name="connsiteY9" fmla="*/ 2525713 h 3028951"/>
              <a:gd name="connsiteX10" fmla="*/ 1681464 w 12192000"/>
              <a:gd name="connsiteY10" fmla="*/ 3028951 h 3028951"/>
              <a:gd name="connsiteX11" fmla="*/ 0 w 12192000"/>
              <a:gd name="connsiteY11" fmla="*/ 3028951 h 3028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028951">
                <a:moveTo>
                  <a:pt x="695326" y="563715"/>
                </a:moveTo>
                <a:lnTo>
                  <a:pt x="695326" y="637674"/>
                </a:lnTo>
                <a:lnTo>
                  <a:pt x="695478" y="637674"/>
                </a:lnTo>
                <a:lnTo>
                  <a:pt x="769850" y="56371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028951"/>
                </a:lnTo>
                <a:lnTo>
                  <a:pt x="2903213" y="3028951"/>
                </a:lnTo>
                <a:lnTo>
                  <a:pt x="3062804" y="2525713"/>
                </a:lnTo>
                <a:lnTo>
                  <a:pt x="1841055" y="2525713"/>
                </a:lnTo>
                <a:lnTo>
                  <a:pt x="1681464" y="3028951"/>
                </a:lnTo>
                <a:lnTo>
                  <a:pt x="0" y="302895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4504AF-E94E-DA48-31BC-95619F95D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lin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6B8872-9806-99FE-5CC9-B342E125E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13911E-BB31-EE44-B96E-95974766F8D5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9857B-6277-CE97-5166-A5DC9AFF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0BD8B3-7E52-67C0-497B-DE5B36B3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E443A44-926A-78B0-9D34-1FC133D01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332135"/>
            <a:ext cx="797311" cy="233014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oudsHSM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AFF3B19-89C6-6044-2D0D-33D77241B3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81200" y="2744136"/>
            <a:ext cx="609600" cy="609600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B27AB15-5B3C-4AB3-083D-9D79397ED60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95647" y="3572159"/>
            <a:ext cx="8201025" cy="1685646"/>
          </a:xfrm>
        </p:spPr>
        <p:txBody>
          <a:bodyPr anchor="b"/>
          <a:lstStyle>
            <a:lvl1pPr>
              <a:defRPr sz="2800"/>
            </a:lvl1pPr>
          </a:lstStyle>
          <a:p>
            <a:pPr lvl="0"/>
            <a:r>
              <a:rPr lang="de-CH" sz="2800">
                <a:latin typeface="Arial" panose="020B0604020202020204" pitchFamily="34" charset="0"/>
                <a:cs typeface="Arial" panose="020B0604020202020204" pitchFamily="34" charset="0"/>
              </a:rPr>
              <a:t>« </a:t>
            </a:r>
            <a:r>
              <a:rPr lang="de-CH" sz="280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de-CH" sz="2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80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de-CH" sz="2800">
                <a:latin typeface="Arial" panose="020B0604020202020204" pitchFamily="34" charset="0"/>
                <a:cs typeface="Arial" panose="020B0604020202020204" pitchFamily="34" charset="0"/>
              </a:rPr>
              <a:t>….»</a:t>
            </a:r>
            <a:endParaRPr lang="en-US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CA0F447B-58BE-0A48-F3CF-03D14AE804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95648" y="5761044"/>
            <a:ext cx="8201025" cy="331781"/>
          </a:xfrm>
        </p:spPr>
        <p:txBody>
          <a:bodyPr anchor="t"/>
          <a:lstStyle>
            <a:lvl1pPr>
              <a:defRPr sz="1400" b="1"/>
            </a:lvl1pPr>
          </a:lstStyle>
          <a:p>
            <a:pPr lvl="0"/>
            <a:r>
              <a:rPr lang="en-US"/>
              <a:t>Author Nam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0B6A59B7-817B-80C2-4ABF-26F2CD7F3A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234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72530D8-A939-C09F-5437-9C1D29BD09DE}"/>
              </a:ext>
            </a:extLst>
          </p:cNvPr>
          <p:cNvSpPr/>
          <p:nvPr userDrawn="1"/>
        </p:nvSpPr>
        <p:spPr>
          <a:xfrm>
            <a:off x="0" y="1"/>
            <a:ext cx="12192000" cy="14925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E65096-C0AA-43E7-5115-EC52202A4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784225"/>
            <a:ext cx="10800000" cy="4492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Headline.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74FFF9-F677-FFD7-F056-2E3A68347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665290"/>
            <a:ext cx="10800675" cy="44277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8A3791-6EB5-EE46-176F-A35C91649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000" y="6276976"/>
            <a:ext cx="1875225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E2518337-0E3A-7C4A-855E-A410A4AB154E}" type="datetime3">
              <a:rPr lang="en-US" smtClean="0"/>
              <a:t>25 January 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E80305-2473-8D22-66FF-428589CA5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09200" y="6276976"/>
            <a:ext cx="4114800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CH"/>
              <a:t>Securosys 365 DKE – Technical Product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2EF32-B787-FE53-A131-65B553F88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206" y="6276976"/>
            <a:ext cx="321468" cy="24764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27EFC5A-D034-43EB-AD4A-BFCEE41F55B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6B4FC2E-71D2-920D-5CC8-521F90E9391A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5325" y="6276975"/>
            <a:ext cx="238125" cy="24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3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54" r:id="rId3"/>
    <p:sldLayoutId id="2147483656" r:id="rId4"/>
    <p:sldLayoutId id="2147483657" r:id="rId5"/>
    <p:sldLayoutId id="2147483665" r:id="rId6"/>
    <p:sldLayoutId id="2147483658" r:id="rId7"/>
    <p:sldLayoutId id="2147483659" r:id="rId8"/>
    <p:sldLayoutId id="2147483660" r:id="rId9"/>
    <p:sldLayoutId id="2147483661" r:id="rId10"/>
    <p:sldLayoutId id="2147483664" r:id="rId11"/>
    <p:sldLayoutId id="2147483666" r:id="rId1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Tx/>
        <a:buBlip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</a:buBlip>
        <a:defRPr lang="en-U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Font typeface="Arial" panose="020B0604020202020204" pitchFamily="34" charset="0"/>
        <a:buNone/>
        <a:tabLst/>
        <a:defRPr sz="2400" b="1" kern="1200" cap="all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0" userDrawn="1">
          <p15:clr>
            <a:srgbClr val="F26B43"/>
          </p15:clr>
        </p15:guide>
        <p15:guide id="5" pos="438" userDrawn="1">
          <p15:clr>
            <a:srgbClr val="F26B43"/>
          </p15:clr>
        </p15:guide>
        <p15:guide id="6" pos="7242" userDrawn="1">
          <p15:clr>
            <a:srgbClr val="F26B43"/>
          </p15:clr>
        </p15:guide>
        <p15:guide id="7" orient="horz" pos="1049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securosys.ch/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.securosys.ch/application/securosys-docs" TargetMode="External"/><Relationship Id="rId2" Type="http://schemas.openxmlformats.org/officeDocument/2006/relationships/hyperlink" Target="https://www.markdownguide.org/cheat-sheet/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securosys.com/external/knowledge-base/article/64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24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E2E94D8E-2F9E-9A0C-D7F5-3850824FD00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/>
        </p:blipFill>
        <p:spPr>
          <a:xfrm>
            <a:off x="0" y="0"/>
            <a:ext cx="12192000" cy="6858000"/>
          </a:xfr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FC3CFB8A-71C1-A8F4-5E6A-33EE516045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4000">
                <a:schemeClr val="tx1"/>
              </a:gs>
              <a:gs pos="88000">
                <a:schemeClr val="bg2">
                  <a:shade val="98000"/>
                  <a:satMod val="120000"/>
                  <a:lumMod val="98000"/>
                  <a:alpha val="0"/>
                </a:schemeClr>
              </a:gs>
              <a:gs pos="60000">
                <a:schemeClr val="bg2">
                  <a:shade val="98000"/>
                  <a:satMod val="120000"/>
                  <a:lumMod val="98000"/>
                  <a:alpha val="3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 algn="l"/>
            <a:endParaRPr lang="de-CH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DDD02DD-A26F-55A2-7B1A-906E28372A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7E09657-826B-7B29-A5ED-535E0474B3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80834" y="784225"/>
            <a:ext cx="5358266" cy="881063"/>
          </a:xfrm>
        </p:spPr>
        <p:txBody>
          <a:bodyPr>
            <a:normAutofit fontScale="47500" lnSpcReduction="20000"/>
          </a:bodyPr>
          <a:lstStyle/>
          <a:p>
            <a:r>
              <a:rPr lang="en-US"/>
              <a:t>Documentation Worksho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5BA45-4609-096E-B17C-29F143E86B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000" y="6276976"/>
            <a:ext cx="1875225" cy="247649"/>
          </a:xfrm>
        </p:spPr>
        <p:txBody>
          <a:bodyPr/>
          <a:lstStyle/>
          <a:p>
            <a:pPr lvl="0"/>
            <a:fld id="{738F7909-8A84-E54F-ABC9-3111A74CD5CF}" type="datetime3">
              <a:rPr lang="en-US" noProof="0" smtClean="0"/>
              <a:t>25 January 2024</a:t>
            </a:fld>
            <a:endParaRPr lang="de-CH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A80125-374E-1FAB-EB82-544EEC44A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9200" y="6276976"/>
            <a:ext cx="4114800" cy="247649"/>
          </a:xfrm>
        </p:spPr>
        <p:txBody>
          <a:bodyPr/>
          <a:lstStyle/>
          <a:p>
            <a:pPr lvl="0"/>
            <a:r>
              <a:rPr lang="de-CH" noProof="0"/>
              <a:t>Securosys 365 DKE – Technical </a:t>
            </a:r>
            <a:r>
              <a:rPr lang="de-CH" noProof="0" err="1"/>
              <a:t>Product</a:t>
            </a:r>
            <a:r>
              <a:rPr lang="de-CH" noProof="0"/>
              <a:t> Over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FB535A-7DD3-5C34-5F6F-6E6B31A8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5206" y="6276976"/>
            <a:ext cx="321468" cy="247649"/>
          </a:xfrm>
        </p:spPr>
        <p:txBody>
          <a:bodyPr/>
          <a:lstStyle/>
          <a:p>
            <a:pPr lvl="0"/>
            <a:fld id="{027EFC5A-D034-43EB-AD4A-BFCEE41F55BF}" type="slidenum">
              <a:rPr lang="de-CH" noProof="0" smtClean="0"/>
              <a:pPr lvl="0"/>
              <a:t>1</a:t>
            </a:fld>
            <a:endParaRPr lang="de-CH" noProof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2622986-8954-2128-F1BA-1E9A4C5E58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81288" y="331788"/>
            <a:ext cx="1964297" cy="233014"/>
          </a:xfrm>
        </p:spPr>
        <p:txBody>
          <a:bodyPr/>
          <a:lstStyle/>
          <a:p>
            <a:r>
              <a:rPr lang="en-US"/>
              <a:t>Boosting Documentation Efficiency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C15FABE-D55F-6D9F-6D45-5A3850E7FD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BFA456-481E-6099-A030-FA98B0C848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19. </a:t>
            </a:r>
            <a:r>
              <a:rPr lang="en-US" err="1"/>
              <a:t>Januar</a:t>
            </a:r>
            <a:r>
              <a:rPr lang="en-US"/>
              <a:t> 2024</a:t>
            </a:r>
          </a:p>
          <a:p>
            <a:r>
              <a:rPr lang="en-US" sz="1100"/>
              <a:t>Sebastian Fernandez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7C24321-F154-5ECD-0FAD-831B5346EA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0F08ACF-CD94-6400-36EC-D7DACD540E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213" y="4586000"/>
            <a:ext cx="2664618" cy="929571"/>
          </a:xfrm>
          <a:prstGeom prst="rect">
            <a:avLst/>
          </a:prstGeom>
        </p:spPr>
      </p:pic>
      <p:pic>
        <p:nvPicPr>
          <p:cNvPr id="2" name="Grafik 1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CE491655-2439-040E-DB61-FE18142C1E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937" y="4996279"/>
            <a:ext cx="268346" cy="4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9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CB474-3E03-8405-AEF8-DFEC2DBFB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325" y="784225"/>
            <a:ext cx="6924675" cy="881063"/>
          </a:xfrm>
        </p:spPr>
        <p:txBody>
          <a:bodyPr/>
          <a:lstStyle/>
          <a:p>
            <a:r>
              <a:rPr lang="en-GB"/>
              <a:t>Agenda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8E9CBF-4E18-8B43-0B55-5FB149C15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8000" y="6276976"/>
            <a:ext cx="1875225" cy="247649"/>
          </a:xfrm>
        </p:spPr>
        <p:txBody>
          <a:bodyPr/>
          <a:lstStyle/>
          <a:p>
            <a:fld id="{8FF8E25B-A18B-7749-9E29-529C36D73DA2}" type="datetime3">
              <a:rPr lang="en-US" smtClean="0"/>
              <a:pPr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4C7834-7318-087C-AEA2-376A1241E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9200" y="6276976"/>
            <a:ext cx="4114800" cy="247649"/>
          </a:xfrm>
        </p:spPr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09D5AF-2E6B-796A-36A1-D3A07A235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5206" y="6276976"/>
            <a:ext cx="321468" cy="247649"/>
          </a:xfrm>
        </p:spPr>
        <p:txBody>
          <a:bodyPr/>
          <a:lstStyle/>
          <a:p>
            <a:fld id="{027EFC5A-D034-43EB-AD4A-BFCEE41F55BF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9C5A1A-3700-4DD1-A50A-45BFBEB450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37069" y="2717800"/>
            <a:ext cx="7736557" cy="3549912"/>
          </a:xfrm>
        </p:spPr>
        <p:txBody>
          <a:bodyPr vert="horz" lIns="0" tIns="0" rIns="0" bIns="0" rtlCol="0" anchor="t">
            <a:no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Introduction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What Data shall be made available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What is the data structuring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How are articles added/maintained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Hands-on Tutorial: Setting up </a:t>
            </a:r>
            <a:r>
              <a:rPr lang="en-CH" sz="2000" err="1">
                <a:effectLst/>
                <a:latin typeface="+mj-lt"/>
                <a:ea typeface="Times New Roman" panose="02020603050405020304" pitchFamily="18" charset="0"/>
              </a:rPr>
              <a:t>Docusaurus</a:t>
            </a:r>
            <a:r>
              <a:rPr lang="en-GB" sz="2000">
                <a:effectLst/>
                <a:latin typeface="+mj-lt"/>
                <a:ea typeface="Times New Roman" panose="02020603050405020304" pitchFamily="18" charset="0"/>
              </a:rPr>
              <a:t> and create first page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Best Practices for Documentation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CH" sz="2000">
                <a:effectLst/>
                <a:latin typeface="+mj-lt"/>
                <a:ea typeface="Times New Roman" panose="02020603050405020304" pitchFamily="18" charset="0"/>
              </a:rPr>
              <a:t>Q&amp;A Session</a:t>
            </a:r>
            <a:endParaRPr lang="en-CH" sz="2000"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55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13BEF-8AEC-01CB-97D7-869FC580F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roblem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CB46DC-F6D4-21A6-B4D3-6EAAD9096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019E6-7F48-F7E6-444C-B72E84587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0E50B5-3F13-D4FD-A319-0DB09B126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3</a:t>
            </a:fld>
            <a:endParaRPr lang="de-CH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37F335-811C-BB93-7185-DD5E5AE0A65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800"/>
              <a:t>Fast growing application landscape at Securosys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 sz="1600"/>
              <a:t> (</a:t>
            </a:r>
            <a:r>
              <a:rPr lang="en-GB" sz="1600" err="1"/>
              <a:t>HCVault</a:t>
            </a:r>
            <a:r>
              <a:rPr lang="en-GB" sz="1600"/>
              <a:t>, XKS, CSE, Docker Signing, Docker Encryption, DKE, TSB,….)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800"/>
              <a:t>Hard to maintain documentation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 sz="1600"/>
              <a:t>OTRS (Word -&gt; PDF -&gt; Upload to </a:t>
            </a:r>
            <a:r>
              <a:rPr lang="en-GB" sz="1600" err="1"/>
              <a:t>Hostpoint</a:t>
            </a:r>
            <a:r>
              <a:rPr lang="en-GB" sz="1600"/>
              <a:t> -&gt; Link in OTRS KBA, Notify customers)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800"/>
              <a:t>Old PDF versions floating around at customer disk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800"/>
              <a:t>Knowledgebase Article in OTRS 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 sz="1600"/>
              <a:t>do not support syntax highlighting and are hard to structure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 sz="160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800"/>
              <a:t>PDF are not suitable for </a:t>
            </a:r>
            <a:r>
              <a:rPr lang="en-GB" sz="1800" err="1"/>
              <a:t>CodeLines</a:t>
            </a:r>
            <a:r>
              <a:rPr lang="en-GB" sz="1800"/>
              <a:t> and technical documentation</a:t>
            </a:r>
            <a:endParaRPr lang="en-CH" sz="18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sz="1050"/>
          </a:p>
          <a:p>
            <a:endParaRPr lang="en-CH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635E82-131D-C6A6-A42B-578048BC6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444650" cy="233014"/>
          </a:xfrm>
        </p:spPr>
        <p:txBody>
          <a:bodyPr/>
          <a:lstStyle/>
          <a:p>
            <a:r>
              <a:rPr lang="en-GB"/>
              <a:t>As-Is</a:t>
            </a:r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222441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9C847-58AE-3C10-1961-00B2EB793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EAC130-4094-2253-BFF9-250A7646E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BF507-FB73-DB09-2FCF-92F9B4AE5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E86268-BE48-EF23-A0B3-E15A33B94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4</a:t>
            </a:fld>
            <a:endParaRPr lang="de-CH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87A875-EE28-BFC4-6993-BB1EBEBA49A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/>
              <a:t>Central </a:t>
            </a:r>
            <a:r>
              <a:rPr lang="en-GB" err="1"/>
              <a:t>Webbased</a:t>
            </a:r>
            <a:r>
              <a:rPr lang="en-GB"/>
              <a:t> Documentation Platform</a:t>
            </a:r>
          </a:p>
          <a:p>
            <a:pPr marL="465455" lvl="2" indent="-285750">
              <a:buFont typeface="Arial" panose="020B0604020202020204" pitchFamily="34" charset="0"/>
              <a:buChar char="•"/>
            </a:pPr>
            <a:r>
              <a:rPr lang="en-GB" err="1">
                <a:latin typeface="Arial"/>
                <a:cs typeface="Arial"/>
              </a:rPr>
              <a:t>Docusaurus</a:t>
            </a:r>
            <a:r>
              <a:rPr lang="en-GB">
                <a:latin typeface="Arial"/>
                <a:cs typeface="Arial"/>
              </a:rPr>
              <a:t> (Web-based Documentation developed and maintained by Facebook)</a:t>
            </a:r>
          </a:p>
          <a:p>
            <a:pPr marL="465455" lvl="2" indent="-285750">
              <a:buFont typeface="Arial" panose="020B0604020202020204" pitchFamily="34" charset="0"/>
              <a:buChar char="•"/>
            </a:pPr>
            <a:r>
              <a:rPr lang="en-GB" err="1"/>
              <a:t>OpenSource</a:t>
            </a:r>
            <a:endParaRPr lang="en-GB"/>
          </a:p>
          <a:p>
            <a:pPr marL="465455" lvl="2" indent="-285750">
              <a:buFont typeface="Arial" panose="020B0604020202020204" pitchFamily="34" charset="0"/>
              <a:buChar char="•"/>
            </a:pPr>
            <a:r>
              <a:rPr lang="en-GB" err="1"/>
              <a:t>Capabillity</a:t>
            </a:r>
            <a:r>
              <a:rPr lang="en-GB"/>
              <a:t> of live updates of </a:t>
            </a:r>
            <a:r>
              <a:rPr lang="en-GB" err="1"/>
              <a:t>Userguides</a:t>
            </a:r>
            <a:r>
              <a:rPr lang="en-GB"/>
              <a:t>, KBA’s</a:t>
            </a:r>
          </a:p>
          <a:p>
            <a:pPr marL="179705" lvl="2" indent="0">
              <a:buNone/>
            </a:pPr>
            <a:endParaRPr lang="en-GB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/>
              <a:t>Easy to use `markdown language`</a:t>
            </a:r>
          </a:p>
          <a:p>
            <a:pPr marL="465455" lvl="2" indent="-285750">
              <a:buFont typeface="Arial" panose="020B0604020202020204" pitchFamily="34" charset="0"/>
              <a:buChar char="•"/>
            </a:pPr>
            <a:r>
              <a:rPr lang="en-GB"/>
              <a:t>Already 6 People knows how to use at Securosys</a:t>
            </a:r>
          </a:p>
          <a:p>
            <a:pPr marL="539750" lvl="5" indent="-179705">
              <a:buFont typeface="Arial" panose="020B0604020202020204" pitchFamily="34" charset="0"/>
              <a:buChar char="•"/>
            </a:pPr>
            <a:r>
              <a:rPr lang="en-GB"/>
              <a:t>Peter, Mikolaj, Tomasz, Dimitrios, Florian, Sebastian</a:t>
            </a:r>
            <a:endParaRPr lang="en-GB">
              <a:cs typeface="Arial"/>
            </a:endParaRPr>
          </a:p>
          <a:p>
            <a:pPr marL="359750" lvl="4" indent="-179705">
              <a:buFont typeface="Arial" panose="020B0604020202020204" pitchFamily="34" charset="0"/>
              <a:buChar char="•"/>
            </a:pPr>
            <a:r>
              <a:rPr lang="en-GB">
                <a:cs typeface="Arial"/>
                <a:hlinkClick r:id="rId2"/>
              </a:rPr>
              <a:t>https://docs.securosys.ch/</a:t>
            </a:r>
            <a:r>
              <a:rPr lang="en-GB">
                <a:cs typeface="Arial"/>
              </a:rPr>
              <a:t> (Internal)</a:t>
            </a:r>
          </a:p>
          <a:p>
            <a:pPr marL="539750" lvl="5" indent="-179705">
              <a:buFont typeface="Arial" panose="020B0604020202020204" pitchFamily="34" charset="0"/>
              <a:buChar char="•"/>
            </a:pPr>
            <a:endParaRPr lang="en-GB">
              <a:cs typeface="Arial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/>
              <a:t>versioning system, aligns with product version</a:t>
            </a:r>
            <a:endParaRPr lang="en-CH"/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en-US" b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pm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ru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ocusauru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ocs:versio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.17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.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499536-3523-2125-2DA8-C71326FCF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495946" cy="233014"/>
          </a:xfrm>
        </p:spPr>
        <p:txBody>
          <a:bodyPr/>
          <a:lstStyle/>
          <a:p>
            <a:r>
              <a:rPr lang="en-US"/>
              <a:t>To-Be</a:t>
            </a:r>
          </a:p>
        </p:txBody>
      </p:sp>
    </p:spTree>
    <p:extLst>
      <p:ext uri="{BB962C8B-B14F-4D97-AF65-F5344CB8AC3E}">
        <p14:creationId xmlns:p14="http://schemas.microsoft.com/office/powerpoint/2010/main" val="242464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E8E53-929E-2BE1-7BBF-57537F7FB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Structuring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4A4D5F-8159-C1AC-ABFD-836D0EF94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F60223-C1F3-9B2D-E442-FD16E74E9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98C8E-2FA0-C967-A2F6-8D735FD4E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5</a:t>
            </a:fld>
            <a:endParaRPr lang="de-CH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73F45D4A-7CB0-FBDF-D0D1-B80376CF0AC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830959" y="1541463"/>
            <a:ext cx="2349305" cy="4427537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260BBB-C46E-5933-1222-B590D50AA1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726779" cy="233014"/>
          </a:xfrm>
        </p:spPr>
        <p:txBody>
          <a:bodyPr/>
          <a:lstStyle/>
          <a:p>
            <a:r>
              <a:rPr lang="en-GB"/>
              <a:t>Guidelines</a:t>
            </a:r>
            <a:endParaRPr lang="en-CH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810BCF-D8BB-6026-3AB3-986B93199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400" y="2174397"/>
            <a:ext cx="2924583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892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3ED59-EEE7-D29F-7B6F-CC0BBD1C0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sag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F15EB8-96B1-EDD4-DA31-52EA12DDF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B98203-E635-CFCC-84D4-E0D3FD3E6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1AC2F1-62FE-C48E-8B8F-B1D3913CD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6</a:t>
            </a:fld>
            <a:endParaRPr lang="de-CH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DD151D-3BD8-E8A7-B61F-5C05EBC47D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sz="quarter" idx="13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Add a new Page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(=) add new file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>
              <a:sym typeface="Wingdings" panose="05000000000000000000" pitchFamily="2" charset="2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Markdown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  <a:hlinkClick r:id="rId2"/>
              </a:rPr>
              <a:t>https://www.markdownguide.org/cheat-sheet/</a:t>
            </a:r>
            <a:endParaRPr lang="en-GB">
              <a:sym typeface="Wingdings" panose="05000000000000000000" pitchFamily="2" charset="2"/>
              <a:hlinkClick r:id="rId3"/>
            </a:endParaRP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  <a:hlinkClick r:id="rId3"/>
              </a:rPr>
              <a:t>https://git.securosys.ch/application/securosys-docs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>
              <a:sym typeface="Wingdings" panose="05000000000000000000" pitchFamily="2" charset="2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>
                <a:sym typeface="Wingdings" panose="05000000000000000000" pitchFamily="2" charset="2"/>
              </a:rPr>
              <a:t>Contribution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/>
              <a:t>Installing dependencies: </a:t>
            </a:r>
            <a:r>
              <a:rPr lang="en-GB" err="1">
                <a:solidFill>
                  <a:srgbClr val="FF0000"/>
                </a:solidFill>
                <a:latin typeface="Consolas" panose="020B0609020204030204" pitchFamily="49" charset="0"/>
              </a:rPr>
              <a:t>npm</a:t>
            </a:r>
            <a:r>
              <a:rPr lang="en-GB">
                <a:solidFill>
                  <a:srgbClr val="FF0000"/>
                </a:solidFill>
                <a:latin typeface="Consolas" panose="020B0609020204030204" pitchFamily="49" charset="0"/>
              </a:rPr>
              <a:t> install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/>
              <a:t>Start server: </a:t>
            </a:r>
            <a:r>
              <a:rPr lang="en-GB" err="1">
                <a:solidFill>
                  <a:srgbClr val="FF0000"/>
                </a:solidFill>
                <a:latin typeface="Consolas" panose="020B0609020204030204" pitchFamily="49" charset="0"/>
              </a:rPr>
              <a:t>npm</a:t>
            </a:r>
            <a:r>
              <a:rPr lang="en-GB">
                <a:solidFill>
                  <a:srgbClr val="FF0000"/>
                </a:solidFill>
                <a:latin typeface="Consolas" panose="020B0609020204030204" pitchFamily="49" charset="0"/>
              </a:rPr>
              <a:t> run start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endParaRPr lang="en-GB">
              <a:solidFill>
                <a:srgbClr val="FF0000"/>
              </a:solidFill>
              <a:latin typeface="Consolas" panose="020B0609020204030204" pitchFamily="49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AA49FB-763E-E6C0-16E1-7B6DB136A2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1105088" cy="233014"/>
          </a:xfrm>
        </p:spPr>
        <p:txBody>
          <a:bodyPr/>
          <a:lstStyle/>
          <a:p>
            <a:r>
              <a:rPr lang="en-GB"/>
              <a:t>How to Markdown</a:t>
            </a:r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22693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C528F-7248-E3E6-687C-120EA0BF4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it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58C469-E7BE-33DD-6E5A-C14CF215F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E9C6C6-EB99-12DB-89FD-062284363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365 DKE – Technical Product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9B94D-A11C-2F88-60E3-52128BAD5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7</a:t>
            </a:fld>
            <a:endParaRPr lang="de-CH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CACD09-6DF5-764E-A02C-B181649D5EB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>
                <a:latin typeface="+mj-lt"/>
              </a:rPr>
              <a:t>Git (Guideline)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 u="sng">
                <a:latin typeface="+mj-lt"/>
              </a:rPr>
              <a:t>Before</a:t>
            </a:r>
            <a:r>
              <a:rPr lang="en-GB">
                <a:latin typeface="+mj-lt"/>
              </a:rPr>
              <a:t> Work: </a:t>
            </a:r>
            <a:r>
              <a:rPr lang="en-GB" b="1" i="1">
                <a:latin typeface="+mj-lt"/>
              </a:rPr>
              <a:t>Pull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>
                <a:latin typeface="+mj-lt"/>
              </a:rPr>
              <a:t>Work: </a:t>
            </a:r>
            <a:r>
              <a:rPr lang="en-GB" b="1" i="1">
                <a:latin typeface="+mj-lt"/>
              </a:rPr>
              <a:t>Commit</a:t>
            </a:r>
          </a:p>
          <a:p>
            <a:pPr marL="465750" lvl="2" indent="-285750">
              <a:buFont typeface="Arial" panose="020B0604020202020204" pitchFamily="34" charset="0"/>
              <a:buChar char="•"/>
            </a:pPr>
            <a:r>
              <a:rPr lang="en-GB" u="sng">
                <a:latin typeface="+mj-lt"/>
              </a:rPr>
              <a:t>After</a:t>
            </a:r>
            <a:r>
              <a:rPr lang="en-GB">
                <a:latin typeface="+mj-lt"/>
              </a:rPr>
              <a:t> Work: </a:t>
            </a:r>
            <a:r>
              <a:rPr lang="en-GB" b="1" i="1">
                <a:latin typeface="+mj-lt"/>
              </a:rPr>
              <a:t>Push</a:t>
            </a:r>
            <a:endParaRPr lang="en-GB" b="1" i="1"/>
          </a:p>
          <a:p>
            <a:endParaRPr lang="en-CH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864014-65B0-925A-AA03-41F68CDDF1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720367" cy="233014"/>
          </a:xfrm>
        </p:spPr>
        <p:txBody>
          <a:bodyPr/>
          <a:lstStyle/>
          <a:p>
            <a:r>
              <a:rPr lang="en-GB"/>
              <a:t>How to Git</a:t>
            </a:r>
            <a:endParaRPr lang="en-CH"/>
          </a:p>
        </p:txBody>
      </p:sp>
      <p:pic>
        <p:nvPicPr>
          <p:cNvPr id="1026" name="Picture 2" descr="Learn How to Use Local and Remote Repositories in Git - YouTube">
            <a:extLst>
              <a:ext uri="{FF2B5EF4-FFF2-40B4-BE49-F238E27FC236}">
                <a16:creationId xmlns:a16="http://schemas.microsoft.com/office/drawing/2014/main" id="{54D947B2-48E1-623A-1003-25917C7161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525" y="2133713"/>
            <a:ext cx="6886753" cy="3873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B049810-E3F6-0A2E-7ADC-6DA382AF07EE}"/>
              </a:ext>
            </a:extLst>
          </p:cNvPr>
          <p:cNvSpPr txBox="1"/>
          <p:nvPr/>
        </p:nvSpPr>
        <p:spPr>
          <a:xfrm>
            <a:off x="6628046" y="1779313"/>
            <a:ext cx="15497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/>
              <a:t>Git Workflow</a:t>
            </a:r>
            <a:endParaRPr lang="en-CH" err="1"/>
          </a:p>
        </p:txBody>
      </p:sp>
    </p:spTree>
    <p:extLst>
      <p:ext uri="{BB962C8B-B14F-4D97-AF65-F5344CB8AC3E}">
        <p14:creationId xmlns:p14="http://schemas.microsoft.com/office/powerpoint/2010/main" val="1381140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0106D-A5B8-DDD3-3EC8-39CEA25DC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ands-On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D22BB8-3FA2-F434-2C8E-51CCFA90E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9D75-EE95-4346-943C-70C2B6D0502D}" type="datetime3">
              <a:rPr lang="en-US" smtClean="0"/>
              <a:t>25 January 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66C1BE-0158-01B2-8D4D-2AAF97EC1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ecurosys - </a:t>
            </a:r>
            <a:r>
              <a:rPr lang="de-CH" err="1"/>
              <a:t>Docusaurus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3F519F-CF3C-370D-F9CA-00326CDC0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EFC5A-D034-43EB-AD4A-BFCEE41F55BF}" type="slidenum">
              <a:rPr lang="de-CH" smtClean="0"/>
              <a:t>8</a:t>
            </a:fld>
            <a:endParaRPr lang="de-CH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A7530C45-71E2-1E38-CA90-269285368DFA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08744341"/>
              </p:ext>
            </p:extLst>
          </p:nvPr>
        </p:nvGraphicFramePr>
        <p:xfrm>
          <a:off x="695325" y="1665288"/>
          <a:ext cx="10801350" cy="4128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675">
                  <a:extLst>
                    <a:ext uri="{9D8B030D-6E8A-4147-A177-3AD203B41FA5}">
                      <a16:colId xmlns:a16="http://schemas.microsoft.com/office/drawing/2014/main" val="2784642752"/>
                    </a:ext>
                  </a:extLst>
                </a:gridCol>
                <a:gridCol w="5400675">
                  <a:extLst>
                    <a:ext uri="{9D8B030D-6E8A-4147-A177-3AD203B41FA5}">
                      <a16:colId xmlns:a16="http://schemas.microsoft.com/office/drawing/2014/main" val="4225925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Project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Maintainer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0866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trike="noStrike" err="1"/>
                        <a:t>CloudsHSM</a:t>
                      </a:r>
                      <a:endParaRPr lang="en-CH" strike="noStrik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hn Dingelstad</a:t>
                      </a:r>
                      <a:endParaRPr lang="en-CH" strike="noStrik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085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JCE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ebastian Fernandez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8325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PKCS#11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Florian Wernli / Peter Fernandez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5359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AWS-XKS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Miha Simonovic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6331083"/>
                  </a:ext>
                </a:extLst>
              </a:tr>
              <a:tr h="420413">
                <a:tc>
                  <a:txBody>
                    <a:bodyPr/>
                    <a:lstStyle/>
                    <a:p>
                      <a:r>
                        <a:rPr lang="en-GB"/>
                        <a:t>OpenSSL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lorian Wernli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71811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err="1"/>
                        <a:t>Hashicorp</a:t>
                      </a:r>
                      <a:r>
                        <a:rPr lang="en-GB"/>
                        <a:t> Vault (Rest-Integration)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itrios Sakellaropoulos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4392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Securosys Secrets Engine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masz Madej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1280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ocker-Signing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kolaj Szargut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6308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ocker-Encryption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Reto Stäuble</a:t>
                      </a:r>
                      <a:endParaRPr lang="en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066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SB</a:t>
                      </a:r>
                      <a:endParaRPr lang="en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ebastian Fernande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561821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68E430F-39E8-2427-C575-032712531F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6" y="332135"/>
            <a:ext cx="425414" cy="233014"/>
          </a:xfrm>
        </p:spPr>
        <p:txBody>
          <a:bodyPr/>
          <a:lstStyle/>
          <a:p>
            <a:r>
              <a:rPr lang="en-GB"/>
              <a:t>Goal</a:t>
            </a:r>
            <a:endParaRPr lang="en-CH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0A3678-43D4-9605-B84C-48B3340797A6}"/>
              </a:ext>
            </a:extLst>
          </p:cNvPr>
          <p:cNvSpPr txBox="1"/>
          <p:nvPr/>
        </p:nvSpPr>
        <p:spPr>
          <a:xfrm>
            <a:off x="4596179" y="486509"/>
            <a:ext cx="83548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/>
              <a:t>General Topics (Application Notes): </a:t>
            </a:r>
            <a:r>
              <a:rPr lang="en-CH">
                <a:hlinkClick r:id="rId3"/>
              </a:rPr>
              <a:t>https://support.securosys.com/external/knowledge-base/article/64</a:t>
            </a:r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64876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sNzbPJ77dGnXqu3iwf7IUFAAAAAAADAAAAAAADAAAAAwADAAEA////////BAAAAAMAEAALsAtD9XJqkkmcnVN0ssSIJ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sNzbPJ77dGnXqu3iwf7IUDRGF0YQAbAAAABExpbmtlZFNoYXBlRGF0YQAFAAAAAAACTmFtZQAZAAAATGlua2VkU2hhcGVzRGF0YVByb3BlcnR5ABBWZXJzaW9uAAAAAAAJTGFzdFdyaXRlAC4EUc2BAQAAAAEA/////50AnQAAAAVfaWQAEAAAAASwC0P1cmqSSZydU3SyxIglA0RhdGEAKgAAAAhQcmVzZW50YXRpb25TY2FubmVkRm9yTGlua2VkU2hhcGVzAAEAAk5hbWUAJAAAAExpbmtlZFNoYXBlUHJlc2VudGF0aW9uU2V0dGluZ3NEYXRhABBWZXJzaW9uAAAAAAAJTGFzdFdyaXRlAHwEUc2B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Folienmaster Securosys">
  <a:themeElements>
    <a:clrScheme name="Farben SECU">
      <a:dk1>
        <a:sysClr val="windowText" lastClr="000000"/>
      </a:dk1>
      <a:lt1>
        <a:sysClr val="window" lastClr="FFFFFF"/>
      </a:lt1>
      <a:dk2>
        <a:srgbClr val="000000"/>
      </a:dk2>
      <a:lt2>
        <a:srgbClr val="EDEDED"/>
      </a:lt2>
      <a:accent1>
        <a:srgbClr val="E30613"/>
      </a:accent1>
      <a:accent2>
        <a:srgbClr val="BB1E10"/>
      </a:accent2>
      <a:accent3>
        <a:srgbClr val="A6A6A6"/>
      </a:accent3>
      <a:accent4>
        <a:srgbClr val="265C6D"/>
      </a:accent4>
      <a:accent5>
        <a:srgbClr val="EDEDED"/>
      </a:accent5>
      <a:accent6>
        <a:srgbClr val="F1D2CF"/>
      </a:accent6>
      <a:hlink>
        <a:srgbClr val="000000"/>
      </a:hlink>
      <a:folHlink>
        <a:srgbClr val="E30613"/>
      </a:folHlink>
    </a:clrScheme>
    <a:fontScheme name="Schriften SEC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tIns="90000" bIns="90000" rtlCol="0" anchor="t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CU_AU-202205124_Folienmaster-pptx-04-FWER-p  -  Schreibgeschützt" id="{C36C3DE7-178E-FD43-9B3C-118CEE578D93}" vid="{E4BDB402-571F-234E-82EB-A8F728639A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 Securosys</Template>
  <TotalTime>0</TotalTime>
  <Words>391</Words>
  <Application>Microsoft Office PowerPoint</Application>
  <PresentationFormat>Widescreen</PresentationFormat>
  <Paragraphs>111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onsolas</vt:lpstr>
      <vt:lpstr>Wingdings</vt:lpstr>
      <vt:lpstr>Folienmaster Securosys</vt:lpstr>
      <vt:lpstr>PowerPoint Presentation</vt:lpstr>
      <vt:lpstr>Agenda</vt:lpstr>
      <vt:lpstr>Problem</vt:lpstr>
      <vt:lpstr>Solution</vt:lpstr>
      <vt:lpstr>Data Structuring</vt:lpstr>
      <vt:lpstr>Usage</vt:lpstr>
      <vt:lpstr>Git</vt:lpstr>
      <vt:lpstr>Hands-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saurus</dc:title>
  <dc:subject>Technical Product Overview</dc:subject>
  <dc:creator>John Dingelstad</dc:creator>
  <cp:keywords/>
  <dc:description/>
  <cp:lastModifiedBy>Sebastian Fernandez</cp:lastModifiedBy>
  <cp:revision>2</cp:revision>
  <dcterms:created xsi:type="dcterms:W3CDTF">2022-09-20T13:17:57Z</dcterms:created>
  <dcterms:modified xsi:type="dcterms:W3CDTF">2024-01-25T07:41:19Z</dcterms:modified>
  <cp:category/>
</cp:coreProperties>
</file>